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499" r:id="rId1"/>
  </p:sldMasterIdLst>
  <p:notesMasterIdLst>
    <p:notesMasterId r:id="rId16"/>
  </p:notesMasterIdLst>
  <p:handoutMasterIdLst>
    <p:handoutMasterId r:id="rId17"/>
  </p:handoutMasterIdLst>
  <p:sldIdLst>
    <p:sldId id="11089031" r:id="rId2"/>
    <p:sldId id="11089032" r:id="rId3"/>
    <p:sldId id="11089033" r:id="rId4"/>
    <p:sldId id="11089019" r:id="rId5"/>
    <p:sldId id="11089131" r:id="rId6"/>
    <p:sldId id="11089122" r:id="rId7"/>
    <p:sldId id="11089130" r:id="rId8"/>
    <p:sldId id="11089123" r:id="rId9"/>
    <p:sldId id="11089124" r:id="rId10"/>
    <p:sldId id="11089125" r:id="rId11"/>
    <p:sldId id="11089126" r:id="rId12"/>
    <p:sldId id="11089127" r:id="rId13"/>
    <p:sldId id="11089128" r:id="rId14"/>
    <p:sldId id="11089129" r:id="rId15"/>
  </p:sldIdLst>
  <p:sldSz cx="12192000" cy="6858000"/>
  <p:notesSz cx="7010400" cy="9296400"/>
  <p:custShowLst>
    <p:custShow name="Format Guide Workshop" id="0">
      <p:sldLst/>
    </p:custShow>
  </p:custShow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8C8C"/>
    <a:srgbClr val="273370"/>
    <a:srgbClr val="3EA798"/>
    <a:srgbClr val="273470"/>
    <a:srgbClr val="BABABA"/>
    <a:srgbClr val="F2F2F2"/>
    <a:srgbClr val="2C2C2C"/>
    <a:srgbClr val="010103"/>
    <a:srgbClr val="C8C8C8"/>
    <a:srgbClr val="2C39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81" autoAdjust="0"/>
    <p:restoredTop sz="96323" autoAdjust="0"/>
  </p:normalViewPr>
  <p:slideViewPr>
    <p:cSldViewPr snapToGrid="0">
      <p:cViewPr varScale="1">
        <p:scale>
          <a:sx n="62" d="100"/>
          <a:sy n="62" d="100"/>
        </p:scale>
        <p:origin x="988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sz="800" dirty="0">
              <a:latin typeface="Objectivity Light" pitchFamily="2" charset="77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1" y="3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Objectivity Light" pitchFamily="2" charset="77"/>
              </a:rPr>
              <a:t>11/9/2021</a:t>
            </a:fld>
            <a:endParaRPr lang="en-US" sz="800" dirty="0">
              <a:latin typeface="Objectivity Light" pitchFamily="2" charset="7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97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sz="800" dirty="0">
              <a:latin typeface="Objectivity Light" pitchFamily="2" charset="7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1" y="882997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Objectivity Light" pitchFamily="2" charset="77"/>
              </a:rPr>
              <a:t>‹#›</a:t>
            </a:fld>
            <a:endParaRPr lang="en-US" sz="800" dirty="0">
              <a:latin typeface="Objectivity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439529"/>
            <a:ext cx="7008778" cy="48568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76" tIns="46588" rIns="93176" bIns="46588" rtlCol="0" anchor="ctr"/>
          <a:lstStyle/>
          <a:p>
            <a:pPr algn="ctr"/>
            <a:endParaRPr lang="en-US" b="0" i="0" dirty="0"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3143" y="3"/>
            <a:ext cx="2954699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400"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100" y="579438"/>
            <a:ext cx="6662738" cy="374808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3176" tIns="46588" rIns="93176" bIns="46588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3143" y="8801208"/>
            <a:ext cx="2954699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400"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01208"/>
            <a:ext cx="2945302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>
                <a:latin typeface="Objectivity Light" pitchFamily="2" charset="77"/>
              </a:rPr>
              <a:t>Notes view: </a:t>
            </a:r>
            <a:fld id="{128CEAFE-FA94-43E5-B0FF-D47E1CCDD1B4}" type="slidenum">
              <a:rPr lang="en-US" smtClean="0">
                <a:latin typeface="Objectivity Light" pitchFamily="2" charset="77"/>
              </a:rPr>
              <a:pPr/>
              <a:t>‹#›</a:t>
            </a:fld>
            <a:endParaRPr lang="en-US" dirty="0">
              <a:latin typeface="Objectivity Light" pitchFamily="2" charset="77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61772" y="4745447"/>
            <a:ext cx="6469091" cy="3793564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71172" y="0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11/9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b="0" i="0" kern="1200">
        <a:solidFill>
          <a:schemeClr val="tx1"/>
        </a:solidFill>
        <a:latin typeface="Objectivity Light" pitchFamily="2" charset="77"/>
        <a:ea typeface="+mn-ea"/>
        <a:cs typeface="+mn-cs"/>
        <a:sym typeface="Arial" panose="020B0604020202020204" pitchFamily="3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b="0" i="0" kern="1200">
        <a:solidFill>
          <a:schemeClr val="tx1"/>
        </a:solidFill>
        <a:latin typeface="Objectivity Light" pitchFamily="2" charset="77"/>
        <a:ea typeface="+mn-ea"/>
        <a:cs typeface="+mn-cs"/>
        <a:sym typeface="Arial" panose="020B0604020202020204" pitchFamily="3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b="0" i="0" kern="1200">
        <a:solidFill>
          <a:schemeClr val="tx1"/>
        </a:solidFill>
        <a:latin typeface="Objectivity Light" pitchFamily="2" charset="77"/>
        <a:ea typeface="+mn-ea"/>
        <a:cs typeface="+mn-cs"/>
        <a:sym typeface="Arial" panose="020B0604020202020204" pitchFamily="3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b="0" i="0" kern="1200">
        <a:solidFill>
          <a:schemeClr val="tx1"/>
        </a:solidFill>
        <a:latin typeface="Objectivity Light" pitchFamily="2" charset="77"/>
        <a:ea typeface="+mn-ea"/>
        <a:cs typeface="+mn-cs"/>
        <a:sym typeface="Arial" panose="020B0604020202020204" pitchFamily="3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b="0" i="0" kern="1200">
        <a:solidFill>
          <a:schemeClr val="tx1"/>
        </a:solidFill>
        <a:latin typeface="Objectivity Light" pitchFamily="2" charset="77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29" userDrawn="1">
          <p15:clr>
            <a:srgbClr val="F26B43"/>
          </p15:clr>
        </p15:guide>
        <p15:guide id="2" pos="22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ise in this context refers to bot-generated advertisements in social media that do not contribute to the discussion or any other random text that is irrelevant</a:t>
            </a:r>
            <a:endParaRPr lang="ar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Objectivity Light" pitchFamily="2" charset="77"/>
              </a:rPr>
              <a:t>Notes view: </a:t>
            </a:r>
            <a:fld id="{128CEAFE-FA94-43E5-B0FF-D47E1CCDD1B4}" type="slidenum">
              <a:rPr lang="en-US" smtClean="0">
                <a:latin typeface="Objectivity Light" pitchFamily="2" charset="77"/>
              </a:rPr>
              <a:pPr/>
              <a:t>3</a:t>
            </a:fld>
            <a:endParaRPr lang="en-US" dirty="0">
              <a:latin typeface="Objectivity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85072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- In step one we used TFIDF to separate the sentences into weighted word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Objectivity Light" pitchFamily="2" charset="77"/>
              </a:rPr>
              <a:t>Notes view: </a:t>
            </a:r>
            <a:fld id="{128CEAFE-FA94-43E5-B0FF-D47E1CCDD1B4}" type="slidenum">
              <a:rPr lang="en-US" smtClean="0">
                <a:latin typeface="Objectivity Light" pitchFamily="2" charset="77"/>
              </a:rPr>
              <a:pPr/>
              <a:t>6</a:t>
            </a:fld>
            <a:endParaRPr lang="en-US" dirty="0">
              <a:latin typeface="Objectivity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462147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Objectivity Light" pitchFamily="2" charset="77"/>
              </a:rPr>
              <a:t>Notes view: </a:t>
            </a:r>
            <a:fld id="{128CEAFE-FA94-43E5-B0FF-D47E1CCDD1B4}" type="slidenum">
              <a:rPr lang="en-US" smtClean="0">
                <a:latin typeface="Objectivity Light" pitchFamily="2" charset="77"/>
              </a:rPr>
              <a:pPr/>
              <a:t>11</a:t>
            </a:fld>
            <a:endParaRPr lang="en-US" dirty="0">
              <a:latin typeface="Objectivity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87634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image" Target="../media/image5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image" Target="../media/image1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5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5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1.xml"/><Relationship Id="rId7" Type="http://schemas.openxmlformats.org/officeDocument/2006/relationships/image" Target="../media/image5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4.xml"/><Relationship Id="rId7" Type="http://schemas.openxmlformats.org/officeDocument/2006/relationships/image" Target="../media/image5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5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60.xml"/><Relationship Id="rId7" Type="http://schemas.openxmlformats.org/officeDocument/2006/relationships/image" Target="../media/image5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9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9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67.xml"/><Relationship Id="rId7" Type="http://schemas.openxmlformats.org/officeDocument/2006/relationships/image" Target="../media/image5.emf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70.xml"/><Relationship Id="rId7" Type="http://schemas.openxmlformats.org/officeDocument/2006/relationships/image" Target="../media/image5.emf"/><Relationship Id="rId2" Type="http://schemas.openxmlformats.org/officeDocument/2006/relationships/tags" Target="../tags/tag6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23.png"/><Relationship Id="rId2" Type="http://schemas.openxmlformats.org/officeDocument/2006/relationships/tags" Target="../tags/tag7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1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77.xml"/><Relationship Id="rId7" Type="http://schemas.openxmlformats.org/officeDocument/2006/relationships/image" Target="../media/image5.emf"/><Relationship Id="rId2" Type="http://schemas.openxmlformats.org/officeDocument/2006/relationships/tags" Target="../tags/tag76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80.xml"/><Relationship Id="rId7" Type="http://schemas.openxmlformats.org/officeDocument/2006/relationships/image" Target="../media/image5.emf"/><Relationship Id="rId2" Type="http://schemas.openxmlformats.org/officeDocument/2006/relationships/tags" Target="../tags/tag79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83.xml"/><Relationship Id="rId7" Type="http://schemas.openxmlformats.org/officeDocument/2006/relationships/image" Target="../media/image5.emf"/><Relationship Id="rId2" Type="http://schemas.openxmlformats.org/officeDocument/2006/relationships/tags" Target="../tags/tag82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86.xml"/><Relationship Id="rId7" Type="http://schemas.openxmlformats.org/officeDocument/2006/relationships/image" Target="../media/image5.emf"/><Relationship Id="rId2" Type="http://schemas.openxmlformats.org/officeDocument/2006/relationships/tags" Target="../tags/tag85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5.emf"/><Relationship Id="rId2" Type="http://schemas.openxmlformats.org/officeDocument/2006/relationships/tags" Target="../tags/tag88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5.emf"/><Relationship Id="rId2" Type="http://schemas.openxmlformats.org/officeDocument/2006/relationships/tags" Target="../tags/tag91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4.png"/><Relationship Id="rId2" Type="http://schemas.openxmlformats.org/officeDocument/2006/relationships/tags" Target="../tags/tag9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5.emf"/><Relationship Id="rId2" Type="http://schemas.openxmlformats.org/officeDocument/2006/relationships/tags" Target="../tags/tag96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8.xml"/><Relationship Id="rId7" Type="http://schemas.openxmlformats.org/officeDocument/2006/relationships/image" Target="../media/image3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5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5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5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5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5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5.xml"/><Relationship Id="rId7" Type="http://schemas.openxmlformats.org/officeDocument/2006/relationships/image" Target="../media/image5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6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8.xml"/><Relationship Id="rId7" Type="http://schemas.openxmlformats.org/officeDocument/2006/relationships/image" Target="../media/image5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9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1.xml"/><Relationship Id="rId7" Type="http://schemas.openxmlformats.org/officeDocument/2006/relationships/image" Target="../media/image5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4.xml"/><Relationship Id="rId7" Type="http://schemas.openxmlformats.org/officeDocument/2006/relationships/image" Target="../media/image5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9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9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41.xml"/><Relationship Id="rId7" Type="http://schemas.openxmlformats.org/officeDocument/2006/relationships/image" Target="../media/image22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44.xml"/><Relationship Id="rId7" Type="http://schemas.openxmlformats.org/officeDocument/2006/relationships/image" Target="../media/image5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47.xml"/><Relationship Id="rId7" Type="http://schemas.openxmlformats.org/officeDocument/2006/relationships/image" Target="../media/image5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21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12" Type="http://schemas.openxmlformats.org/officeDocument/2006/relationships/image" Target="../media/image15.sv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2.xml"/><Relationship Id="rId7" Type="http://schemas.openxmlformats.org/officeDocument/2006/relationships/image" Target="../media/image5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55.xml"/><Relationship Id="rId7" Type="http://schemas.openxmlformats.org/officeDocument/2006/relationships/image" Target="../media/image5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8.xml"/><Relationship Id="rId7" Type="http://schemas.openxmlformats.org/officeDocument/2006/relationships/image" Target="../media/image5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9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1.xml"/><Relationship Id="rId7" Type="http://schemas.openxmlformats.org/officeDocument/2006/relationships/image" Target="../media/image5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5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5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24.png"/><Relationship Id="rId2" Type="http://schemas.openxmlformats.org/officeDocument/2006/relationships/tags" Target="../tags/tag16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5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20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12" Type="http://schemas.openxmlformats.org/officeDocument/2006/relationships/image" Target="../media/image15.sv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1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93.xml"/><Relationship Id="rId7" Type="http://schemas.openxmlformats.org/officeDocument/2006/relationships/image" Target="../media/image1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1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7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03.xml"/><Relationship Id="rId7" Type="http://schemas.openxmlformats.org/officeDocument/2006/relationships/image" Target="../media/image1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20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7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22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B1BE9CA4-DAD2-FF48-A729-547A9CF8A2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1360173"/>
            <a:ext cx="6700559" cy="1994624"/>
          </a:xfrm>
        </p:spPr>
        <p:txBody>
          <a:bodyPr lIns="0" tIns="0" rIns="0" bIns="0" anchor="b">
            <a:noAutofit/>
          </a:bodyPr>
          <a:lstStyle>
            <a:lvl1pPr algn="l">
              <a:defRPr sz="4400" b="0" i="0" baseline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Presentation title goes here</a:t>
            </a:r>
            <a:endParaRPr lang="ar-SA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29E3B25C-B170-F241-807D-DB55A4665B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510540"/>
            <a:ext cx="6700560" cy="86375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 goes here</a:t>
            </a:r>
            <a:endParaRPr lang="ar-SA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586286"/>
            <a:ext cx="5400675" cy="365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6" name="Isosceles Triangle 25"/>
          <p:cNvSpPr/>
          <p:nvPr userDrawn="1"/>
        </p:nvSpPr>
        <p:spPr>
          <a:xfrm>
            <a:off x="7395884" y="4078941"/>
            <a:ext cx="4794997" cy="2779059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7337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 err="1">
              <a:solidFill>
                <a:srgbClr val="FFFFFF"/>
              </a:solidFill>
              <a:latin typeface="Objectivity Light" pitchFamily="2" charset="77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971" y="5773271"/>
            <a:ext cx="1829511" cy="64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10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0E57D9-99ED-1A40-A7A3-40A5AA277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306F10-97F4-D540-B2EA-84F71398B3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B6AFB2-A930-7742-8436-6DCF71C61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F5FA8-569C-F642-A839-C6408FF53543}" type="datetimeFigureOut">
              <a:rPr lang="en-US" smtClean="0"/>
              <a:t>11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6AFF11-4C2B-294C-802E-C0F447C95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615280-5BDB-A94A-9DF5-E19FA00DC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DEF9C1-0071-4D4A-89AA-0CC05A8019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26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52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7094B86-2BF5-2644-B3BB-28BA66D2D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755" y="1713094"/>
            <a:ext cx="5995792" cy="1825668"/>
          </a:xfrm>
        </p:spPr>
        <p:txBody>
          <a:bodyPr lIns="0" tIns="0" rIns="0" bIns="0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Divider title goes here</a:t>
            </a:r>
            <a:endParaRPr lang="ar-SA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E0A0C8C-B0A6-CF46-B293-19E453BECA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22754" y="3793400"/>
            <a:ext cx="5995792" cy="1538599"/>
          </a:xfrm>
        </p:spPr>
        <p:txBody>
          <a:bodyPr lIns="0" tIns="0" rIns="0" bIns="0">
            <a:noAutofit/>
          </a:bodyPr>
          <a:lstStyle>
            <a:lvl1pPr marL="4763" indent="0">
              <a:buNone/>
              <a:tabLst/>
              <a:defRPr sz="2400"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763" indent="0">
              <a:buNone/>
              <a:tabLst/>
              <a:defRPr>
                <a:solidFill>
                  <a:schemeClr val="tx2"/>
                </a:solidFill>
              </a:defRPr>
            </a:lvl2pPr>
            <a:lvl3pPr marL="4763" indent="0">
              <a:buNone/>
              <a:tabLst/>
              <a:defRPr>
                <a:solidFill>
                  <a:schemeClr val="tx2"/>
                </a:solidFill>
              </a:defRPr>
            </a:lvl3pPr>
            <a:lvl4pPr marL="4763" indent="0">
              <a:buNone/>
              <a:tabLst/>
              <a:defRPr>
                <a:solidFill>
                  <a:schemeClr val="tx2"/>
                </a:solidFill>
              </a:defRPr>
            </a:lvl4pPr>
            <a:lvl5pPr marL="4763" indent="0"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ivider subtitle goes her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88219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/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091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7094B86-2BF5-2644-B3BB-28BA66D2D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755" y="1713094"/>
            <a:ext cx="5995792" cy="1825668"/>
          </a:xfrm>
        </p:spPr>
        <p:txBody>
          <a:bodyPr lIns="0" tIns="0" rIns="0" bIns="0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Divider title goes here</a:t>
            </a:r>
            <a:endParaRPr lang="ar-SA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E0A0C8C-B0A6-CF46-B293-19E453BECA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22754" y="3793400"/>
            <a:ext cx="5995792" cy="1538599"/>
          </a:xfrm>
        </p:spPr>
        <p:txBody>
          <a:bodyPr lIns="0" tIns="0" rIns="0" bIns="0">
            <a:noAutofit/>
          </a:bodyPr>
          <a:lstStyle>
            <a:lvl1pPr marL="4763" indent="0">
              <a:buNone/>
              <a:tabLst/>
              <a:defRPr sz="2400"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763" indent="0">
              <a:buNone/>
              <a:tabLst/>
              <a:defRPr>
                <a:solidFill>
                  <a:schemeClr val="tx2"/>
                </a:solidFill>
              </a:defRPr>
            </a:lvl2pPr>
            <a:lvl3pPr marL="4763" indent="0">
              <a:buNone/>
              <a:tabLst/>
              <a:defRPr>
                <a:solidFill>
                  <a:schemeClr val="tx2"/>
                </a:solidFill>
              </a:defRPr>
            </a:lvl3pPr>
            <a:lvl4pPr marL="4763" indent="0">
              <a:buNone/>
              <a:tabLst/>
              <a:defRPr>
                <a:solidFill>
                  <a:schemeClr val="tx2"/>
                </a:solidFill>
              </a:defRPr>
            </a:lvl4pPr>
            <a:lvl5pPr marL="4763" indent="0"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ivider subtitle goes her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sp>
        <p:nvSpPr>
          <p:cNvPr id="3" name="Isosceles Triangle 2"/>
          <p:cNvSpPr/>
          <p:nvPr userDrawn="1"/>
        </p:nvSpPr>
        <p:spPr>
          <a:xfrm rot="16200000">
            <a:off x="9162691" y="3828690"/>
            <a:ext cx="2078966" cy="3979653"/>
          </a:xfrm>
          <a:prstGeom prst="triangle">
            <a:avLst>
              <a:gd name="adj" fmla="val 0"/>
            </a:avLst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7337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rgbClr val="FFFFFF"/>
              </a:solidFill>
              <a:latin typeface="Objectivity Light" pitchFamily="2" charset="77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E3DDE4-8BE6-0A47-ACF4-9A7DDD25AB1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11058525" y="5731103"/>
            <a:ext cx="812166" cy="87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07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66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 flipH="1">
            <a:off x="3002185" y="-1"/>
            <a:ext cx="9189814" cy="6858000"/>
            <a:chOff x="0" y="-1"/>
            <a:chExt cx="9189814" cy="6858000"/>
          </a:xfrm>
        </p:grpSpPr>
        <p:sp>
          <p:nvSpPr>
            <p:cNvPr id="9" name="Freeform 8"/>
            <p:cNvSpPr>
              <a:spLocks/>
            </p:cNvSpPr>
            <p:nvPr userDrawn="1"/>
          </p:nvSpPr>
          <p:spPr bwMode="auto">
            <a:xfrm flipH="1">
              <a:off x="0" y="-1"/>
              <a:ext cx="9189814" cy="6858000"/>
            </a:xfrm>
            <a:custGeom>
              <a:avLst/>
              <a:gdLst>
                <a:gd name="connsiteX0" fmla="*/ 0 w 9189814"/>
                <a:gd name="connsiteY0" fmla="*/ 0 h 6858000"/>
                <a:gd name="connsiteX1" fmla="*/ 9189814 w 9189814"/>
                <a:gd name="connsiteY1" fmla="*/ 0 h 6858000"/>
                <a:gd name="connsiteX2" fmla="*/ 9189814 w 9189814"/>
                <a:gd name="connsiteY2" fmla="*/ 6858000 h 6858000"/>
                <a:gd name="connsiteX3" fmla="*/ 2191601 w 9189814"/>
                <a:gd name="connsiteY3" fmla="*/ 6858000 h 6858000"/>
                <a:gd name="connsiteX4" fmla="*/ 2550889 w 9189814"/>
                <a:gd name="connsiteY4" fmla="*/ 6643687 h 6858000"/>
                <a:gd name="connsiteX5" fmla="*/ 2548508 w 9189814"/>
                <a:gd name="connsiteY5" fmla="*/ 6207919 h 6858000"/>
                <a:gd name="connsiteX6" fmla="*/ 2181795 w 9189814"/>
                <a:gd name="connsiteY6" fmla="*/ 6003131 h 6858000"/>
                <a:gd name="connsiteX7" fmla="*/ 2922364 w 9189814"/>
                <a:gd name="connsiteY7" fmla="*/ 5572125 h 6858000"/>
                <a:gd name="connsiteX8" fmla="*/ 3303364 w 9189814"/>
                <a:gd name="connsiteY8" fmla="*/ 5788819 h 6858000"/>
                <a:gd name="connsiteX9" fmla="*/ 3670077 w 9189814"/>
                <a:gd name="connsiteY9" fmla="*/ 5557838 h 6858000"/>
                <a:gd name="connsiteX10" fmla="*/ 3660552 w 9189814"/>
                <a:gd name="connsiteY10" fmla="*/ 3855243 h 6858000"/>
                <a:gd name="connsiteX11" fmla="*/ 3293839 w 9189814"/>
                <a:gd name="connsiteY11" fmla="*/ 3633787 h 6858000"/>
                <a:gd name="connsiteX12" fmla="*/ 3286695 w 9189814"/>
                <a:gd name="connsiteY12" fmla="*/ 2783681 h 6858000"/>
                <a:gd name="connsiteX13" fmla="*/ 3662933 w 9189814"/>
                <a:gd name="connsiteY13" fmla="*/ 2571750 h 6858000"/>
                <a:gd name="connsiteX14" fmla="*/ 3658964 w 9189814"/>
                <a:gd name="connsiteY14" fmla="*/ 2143125 h 6858000"/>
                <a:gd name="connsiteX15" fmla="*/ 2563589 w 9189814"/>
                <a:gd name="connsiteY15" fmla="*/ 1485900 h 6858000"/>
                <a:gd name="connsiteX16" fmla="*/ 2195289 w 9189814"/>
                <a:gd name="connsiteY16" fmla="*/ 1708150 h 6858000"/>
                <a:gd name="connsiteX17" fmla="*/ 1820639 w 9189814"/>
                <a:gd name="connsiteY17" fmla="*/ 1479550 h 6858000"/>
                <a:gd name="connsiteX18" fmla="*/ 1817464 w 9189814"/>
                <a:gd name="connsiteY18" fmla="*/ 1057275 h 6858000"/>
                <a:gd name="connsiteX19" fmla="*/ 0 w 9189814"/>
                <a:gd name="connsiteY19" fmla="*/ 0 h 6858000"/>
                <a:gd name="connsiteX20" fmla="*/ 2925539 w 9189814"/>
                <a:gd name="connsiteY20" fmla="*/ 854076 h 6858000"/>
                <a:gd name="connsiteX21" fmla="*/ 2925539 w 9189814"/>
                <a:gd name="connsiteY21" fmla="*/ 1282701 h 6858000"/>
                <a:gd name="connsiteX22" fmla="*/ 3297014 w 9189814"/>
                <a:gd name="connsiteY22" fmla="*/ 1066801 h 6858000"/>
                <a:gd name="connsiteX23" fmla="*/ 2925539 w 9189814"/>
                <a:gd name="connsiteY23" fmla="*/ 854076 h 6858000"/>
                <a:gd name="connsiteX24" fmla="*/ 4033613 w 9189814"/>
                <a:gd name="connsiteY24" fmla="*/ 1925636 h 6858000"/>
                <a:gd name="connsiteX25" fmla="*/ 4033613 w 9189814"/>
                <a:gd name="connsiteY25" fmla="*/ 2784474 h 6858000"/>
                <a:gd name="connsiteX26" fmla="*/ 4405088 w 9189814"/>
                <a:gd name="connsiteY26" fmla="*/ 2571749 h 6858000"/>
                <a:gd name="connsiteX27" fmla="*/ 4405088 w 9189814"/>
                <a:gd name="connsiteY27" fmla="*/ 2138361 h 6858000"/>
                <a:gd name="connsiteX28" fmla="*/ 4033613 w 9189814"/>
                <a:gd name="connsiteY28" fmla="*/ 1925636 h 6858000"/>
                <a:gd name="connsiteX29" fmla="*/ 3668489 w 9189814"/>
                <a:gd name="connsiteY29" fmla="*/ 2997200 h 6858000"/>
                <a:gd name="connsiteX30" fmla="*/ 3668489 w 9189814"/>
                <a:gd name="connsiteY30" fmla="*/ 3425825 h 6858000"/>
                <a:gd name="connsiteX31" fmla="*/ 4039964 w 9189814"/>
                <a:gd name="connsiteY31" fmla="*/ 3209925 h 6858000"/>
                <a:gd name="connsiteX32" fmla="*/ 3668489 w 9189814"/>
                <a:gd name="connsiteY32" fmla="*/ 29972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189814" h="6858000">
                  <a:moveTo>
                    <a:pt x="0" y="0"/>
                  </a:moveTo>
                  <a:lnTo>
                    <a:pt x="9189814" y="0"/>
                  </a:lnTo>
                  <a:lnTo>
                    <a:pt x="9189814" y="6858000"/>
                  </a:lnTo>
                  <a:lnTo>
                    <a:pt x="2191601" y="6858000"/>
                  </a:lnTo>
                  <a:lnTo>
                    <a:pt x="2550889" y="6643687"/>
                  </a:lnTo>
                  <a:cubicBezTo>
                    <a:pt x="2550095" y="6493668"/>
                    <a:pt x="2549302" y="6357938"/>
                    <a:pt x="2548508" y="6207919"/>
                  </a:cubicBezTo>
                  <a:lnTo>
                    <a:pt x="2181795" y="6003131"/>
                  </a:lnTo>
                  <a:lnTo>
                    <a:pt x="2922364" y="5572125"/>
                  </a:lnTo>
                  <a:lnTo>
                    <a:pt x="3303364" y="5788819"/>
                  </a:lnTo>
                  <a:lnTo>
                    <a:pt x="3670077" y="5557838"/>
                  </a:lnTo>
                  <a:cubicBezTo>
                    <a:pt x="3669283" y="4988719"/>
                    <a:pt x="3661346" y="4424362"/>
                    <a:pt x="3660552" y="3855243"/>
                  </a:cubicBezTo>
                  <a:lnTo>
                    <a:pt x="3293839" y="3633787"/>
                  </a:lnTo>
                  <a:cubicBezTo>
                    <a:pt x="3291458" y="3350418"/>
                    <a:pt x="3289076" y="3067050"/>
                    <a:pt x="3286695" y="2783681"/>
                  </a:cubicBezTo>
                  <a:lnTo>
                    <a:pt x="3662933" y="2571750"/>
                  </a:lnTo>
                  <a:lnTo>
                    <a:pt x="3658964" y="2143125"/>
                  </a:lnTo>
                  <a:lnTo>
                    <a:pt x="2563589" y="1485900"/>
                  </a:lnTo>
                  <a:lnTo>
                    <a:pt x="2195289" y="1708150"/>
                  </a:lnTo>
                  <a:lnTo>
                    <a:pt x="1820639" y="1479550"/>
                  </a:lnTo>
                  <a:cubicBezTo>
                    <a:pt x="1819581" y="1336675"/>
                    <a:pt x="1818522" y="1200150"/>
                    <a:pt x="1817464" y="1057275"/>
                  </a:cubicBezTo>
                  <a:lnTo>
                    <a:pt x="0" y="0"/>
                  </a:lnTo>
                  <a:close/>
                  <a:moveTo>
                    <a:pt x="2925539" y="854076"/>
                  </a:moveTo>
                  <a:lnTo>
                    <a:pt x="2925539" y="1282701"/>
                  </a:lnTo>
                  <a:lnTo>
                    <a:pt x="3297014" y="1066801"/>
                  </a:lnTo>
                  <a:lnTo>
                    <a:pt x="2925539" y="854076"/>
                  </a:lnTo>
                  <a:close/>
                  <a:moveTo>
                    <a:pt x="4033613" y="1925636"/>
                  </a:moveTo>
                  <a:lnTo>
                    <a:pt x="4033613" y="2784474"/>
                  </a:lnTo>
                  <a:lnTo>
                    <a:pt x="4405088" y="2571749"/>
                  </a:lnTo>
                  <a:lnTo>
                    <a:pt x="4405088" y="2138361"/>
                  </a:lnTo>
                  <a:lnTo>
                    <a:pt x="4033613" y="1925636"/>
                  </a:lnTo>
                  <a:close/>
                  <a:moveTo>
                    <a:pt x="3668489" y="2997200"/>
                  </a:moveTo>
                  <a:lnTo>
                    <a:pt x="3668489" y="3425825"/>
                  </a:lnTo>
                  <a:lnTo>
                    <a:pt x="4039964" y="3209925"/>
                  </a:lnTo>
                  <a:lnTo>
                    <a:pt x="3668489" y="299720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3" name="Freeform 53"/>
            <p:cNvSpPr>
              <a:spLocks/>
            </p:cNvSpPr>
            <p:nvPr userDrawn="1"/>
          </p:nvSpPr>
          <p:spPr bwMode="auto">
            <a:xfrm flipH="1">
              <a:off x="8483600" y="638969"/>
              <a:ext cx="371475" cy="858838"/>
            </a:xfrm>
            <a:custGeom>
              <a:avLst/>
              <a:gdLst>
                <a:gd name="T0" fmla="*/ 0 w 234"/>
                <a:gd name="T1" fmla="*/ 0 h 541"/>
                <a:gd name="T2" fmla="*/ 0 w 234"/>
                <a:gd name="T3" fmla="*/ 541 h 541"/>
                <a:gd name="T4" fmla="*/ 234 w 234"/>
                <a:gd name="T5" fmla="*/ 407 h 541"/>
                <a:gd name="T6" fmla="*/ 234 w 234"/>
                <a:gd name="T7" fmla="*/ 134 h 541"/>
                <a:gd name="T8" fmla="*/ 0 w 234"/>
                <a:gd name="T9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41">
                  <a:moveTo>
                    <a:pt x="0" y="0"/>
                  </a:moveTo>
                  <a:lnTo>
                    <a:pt x="0" y="541"/>
                  </a:lnTo>
                  <a:lnTo>
                    <a:pt x="234" y="407"/>
                  </a:lnTo>
                  <a:lnTo>
                    <a:pt x="234" y="13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65A2E0"/>
                </a:gs>
                <a:gs pos="0">
                  <a:srgbClr val="65BBF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5" name="Freeform 54"/>
            <p:cNvSpPr>
              <a:spLocks/>
            </p:cNvSpPr>
            <p:nvPr userDrawn="1"/>
          </p:nvSpPr>
          <p:spPr bwMode="auto">
            <a:xfrm flipH="1">
              <a:off x="4787900" y="4496594"/>
              <a:ext cx="371475" cy="857250"/>
            </a:xfrm>
            <a:custGeom>
              <a:avLst/>
              <a:gdLst>
                <a:gd name="T0" fmla="*/ 0 w 234"/>
                <a:gd name="T1" fmla="*/ 0 h 540"/>
                <a:gd name="T2" fmla="*/ 0 w 234"/>
                <a:gd name="T3" fmla="*/ 540 h 540"/>
                <a:gd name="T4" fmla="*/ 234 w 234"/>
                <a:gd name="T5" fmla="*/ 406 h 540"/>
                <a:gd name="T6" fmla="*/ 234 w 234"/>
                <a:gd name="T7" fmla="*/ 134 h 540"/>
                <a:gd name="T8" fmla="*/ 0 w 234"/>
                <a:gd name="T9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40">
                  <a:moveTo>
                    <a:pt x="0" y="0"/>
                  </a:moveTo>
                  <a:lnTo>
                    <a:pt x="0" y="540"/>
                  </a:lnTo>
                  <a:lnTo>
                    <a:pt x="234" y="406"/>
                  </a:lnTo>
                  <a:lnTo>
                    <a:pt x="234" y="13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1D6871"/>
                </a:gs>
                <a:gs pos="0">
                  <a:srgbClr val="178675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6" name="Freeform 55"/>
            <p:cNvSpPr>
              <a:spLocks/>
            </p:cNvSpPr>
            <p:nvPr userDrawn="1"/>
          </p:nvSpPr>
          <p:spPr bwMode="auto">
            <a:xfrm flipH="1">
              <a:off x="7000875" y="5996782"/>
              <a:ext cx="742950" cy="641350"/>
            </a:xfrm>
            <a:custGeom>
              <a:avLst/>
              <a:gdLst>
                <a:gd name="T0" fmla="*/ 466 w 468"/>
                <a:gd name="T1" fmla="*/ 0 h 404"/>
                <a:gd name="T2" fmla="*/ 0 w 468"/>
                <a:gd name="T3" fmla="*/ 272 h 404"/>
                <a:gd name="T4" fmla="*/ 234 w 468"/>
                <a:gd name="T5" fmla="*/ 404 h 404"/>
                <a:gd name="T6" fmla="*/ 468 w 468"/>
                <a:gd name="T7" fmla="*/ 268 h 404"/>
                <a:gd name="T8" fmla="*/ 466 w 468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404">
                  <a:moveTo>
                    <a:pt x="466" y="0"/>
                  </a:moveTo>
                  <a:lnTo>
                    <a:pt x="0" y="272"/>
                  </a:lnTo>
                  <a:lnTo>
                    <a:pt x="234" y="404"/>
                  </a:lnTo>
                  <a:lnTo>
                    <a:pt x="468" y="268"/>
                  </a:lnTo>
                  <a:lnTo>
                    <a:pt x="466" y="0"/>
                  </a:lnTo>
                  <a:close/>
                </a:path>
              </a:pathLst>
            </a:custGeom>
            <a:gradFill>
              <a:gsLst>
                <a:gs pos="100000">
                  <a:srgbClr val="332D50"/>
                </a:gs>
                <a:gs pos="0">
                  <a:srgbClr val="5B384A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auto">
            <a:xfrm flipH="1">
              <a:off x="7743825" y="1069182"/>
              <a:ext cx="371475" cy="428625"/>
            </a:xfrm>
            <a:custGeom>
              <a:avLst/>
              <a:gdLst>
                <a:gd name="T0" fmla="*/ 0 w 234"/>
                <a:gd name="T1" fmla="*/ 0 h 270"/>
                <a:gd name="T2" fmla="*/ 0 w 234"/>
                <a:gd name="T3" fmla="*/ 270 h 270"/>
                <a:gd name="T4" fmla="*/ 234 w 234"/>
                <a:gd name="T5" fmla="*/ 134 h 270"/>
                <a:gd name="T6" fmla="*/ 0 w 234"/>
                <a:gd name="T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0">
                  <a:moveTo>
                    <a:pt x="0" y="0"/>
                  </a:moveTo>
                  <a:lnTo>
                    <a:pt x="0" y="270"/>
                  </a:lnTo>
                  <a:lnTo>
                    <a:pt x="234" y="13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A659"/>
                </a:gs>
                <a:gs pos="0">
                  <a:srgbClr val="FEA646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auto">
            <a:xfrm flipH="1">
              <a:off x="7375525" y="1926432"/>
              <a:ext cx="368300" cy="428625"/>
            </a:xfrm>
            <a:custGeom>
              <a:avLst/>
              <a:gdLst>
                <a:gd name="T0" fmla="*/ 0 w 232"/>
                <a:gd name="T1" fmla="*/ 134 h 270"/>
                <a:gd name="T2" fmla="*/ 232 w 232"/>
                <a:gd name="T3" fmla="*/ 0 h 270"/>
                <a:gd name="T4" fmla="*/ 232 w 232"/>
                <a:gd name="T5" fmla="*/ 270 h 270"/>
                <a:gd name="T6" fmla="*/ 0 w 232"/>
                <a:gd name="T7" fmla="*/ 1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0" y="134"/>
                  </a:moveTo>
                  <a:lnTo>
                    <a:pt x="232" y="0"/>
                  </a:lnTo>
                  <a:lnTo>
                    <a:pt x="232" y="270"/>
                  </a:lnTo>
                  <a:lnTo>
                    <a:pt x="0" y="134"/>
                  </a:lnTo>
                  <a:close/>
                </a:path>
              </a:pathLst>
            </a:custGeom>
            <a:gradFill>
              <a:gsLst>
                <a:gs pos="100000">
                  <a:srgbClr val="52BC5D"/>
                </a:gs>
                <a:gs pos="0">
                  <a:srgbClr val="5BBA46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auto">
            <a:xfrm flipH="1">
              <a:off x="7007225" y="3426619"/>
              <a:ext cx="368300" cy="428625"/>
            </a:xfrm>
            <a:custGeom>
              <a:avLst/>
              <a:gdLst>
                <a:gd name="T0" fmla="*/ 0 w 232"/>
                <a:gd name="T1" fmla="*/ 134 h 270"/>
                <a:gd name="T2" fmla="*/ 232 w 232"/>
                <a:gd name="T3" fmla="*/ 0 h 270"/>
                <a:gd name="T4" fmla="*/ 232 w 232"/>
                <a:gd name="T5" fmla="*/ 270 h 270"/>
                <a:gd name="T6" fmla="*/ 0 w 232"/>
                <a:gd name="T7" fmla="*/ 1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0" y="134"/>
                  </a:moveTo>
                  <a:lnTo>
                    <a:pt x="232" y="0"/>
                  </a:lnTo>
                  <a:lnTo>
                    <a:pt x="232" y="270"/>
                  </a:lnTo>
                  <a:lnTo>
                    <a:pt x="0" y="134"/>
                  </a:lnTo>
                  <a:close/>
                </a:path>
              </a:pathLst>
            </a:custGeom>
            <a:gradFill>
              <a:gsLst>
                <a:gs pos="100000">
                  <a:srgbClr val="ED6136"/>
                </a:gs>
                <a:gs pos="0">
                  <a:srgbClr val="FF6834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auto">
            <a:xfrm flipH="1">
              <a:off x="6635750" y="3855244"/>
              <a:ext cx="371475" cy="431800"/>
            </a:xfrm>
            <a:custGeom>
              <a:avLst/>
              <a:gdLst>
                <a:gd name="T0" fmla="*/ 234 w 234"/>
                <a:gd name="T1" fmla="*/ 136 h 272"/>
                <a:gd name="T2" fmla="*/ 0 w 234"/>
                <a:gd name="T3" fmla="*/ 272 h 272"/>
                <a:gd name="T4" fmla="*/ 0 w 234"/>
                <a:gd name="T5" fmla="*/ 0 h 272"/>
                <a:gd name="T6" fmla="*/ 234 w 234"/>
                <a:gd name="T7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2">
                  <a:moveTo>
                    <a:pt x="234" y="136"/>
                  </a:moveTo>
                  <a:lnTo>
                    <a:pt x="0" y="272"/>
                  </a:lnTo>
                  <a:lnTo>
                    <a:pt x="0" y="0"/>
                  </a:lnTo>
                  <a:lnTo>
                    <a:pt x="234" y="136"/>
                  </a:lnTo>
                  <a:close/>
                </a:path>
              </a:pathLst>
            </a:custGeom>
            <a:gradFill>
              <a:gsLst>
                <a:gs pos="100000">
                  <a:srgbClr val="CE583A"/>
                </a:gs>
                <a:gs pos="0">
                  <a:srgbClr val="E86036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auto">
            <a:xfrm flipH="1">
              <a:off x="7375525" y="3852069"/>
              <a:ext cx="371475" cy="431800"/>
            </a:xfrm>
            <a:custGeom>
              <a:avLst/>
              <a:gdLst>
                <a:gd name="T0" fmla="*/ 234 w 234"/>
                <a:gd name="T1" fmla="*/ 138 h 272"/>
                <a:gd name="T2" fmla="*/ 0 w 234"/>
                <a:gd name="T3" fmla="*/ 272 h 272"/>
                <a:gd name="T4" fmla="*/ 0 w 234"/>
                <a:gd name="T5" fmla="*/ 0 h 272"/>
                <a:gd name="T6" fmla="*/ 234 w 234"/>
                <a:gd name="T7" fmla="*/ 13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2">
                  <a:moveTo>
                    <a:pt x="234" y="138"/>
                  </a:moveTo>
                  <a:lnTo>
                    <a:pt x="0" y="272"/>
                  </a:lnTo>
                  <a:lnTo>
                    <a:pt x="0" y="0"/>
                  </a:lnTo>
                  <a:lnTo>
                    <a:pt x="234" y="138"/>
                  </a:lnTo>
                  <a:close/>
                </a:path>
              </a:pathLst>
            </a:custGeom>
            <a:gradFill>
              <a:gsLst>
                <a:gs pos="100000">
                  <a:srgbClr val="159076"/>
                </a:gs>
                <a:gs pos="0">
                  <a:srgbClr val="139E78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auto">
            <a:xfrm flipH="1">
              <a:off x="6267450" y="4925219"/>
              <a:ext cx="371475" cy="431800"/>
            </a:xfrm>
            <a:custGeom>
              <a:avLst/>
              <a:gdLst>
                <a:gd name="T0" fmla="*/ 234 w 234"/>
                <a:gd name="T1" fmla="*/ 136 h 272"/>
                <a:gd name="T2" fmla="*/ 0 w 234"/>
                <a:gd name="T3" fmla="*/ 272 h 272"/>
                <a:gd name="T4" fmla="*/ 0 w 234"/>
                <a:gd name="T5" fmla="*/ 0 h 272"/>
                <a:gd name="T6" fmla="*/ 234 w 234"/>
                <a:gd name="T7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2">
                  <a:moveTo>
                    <a:pt x="234" y="136"/>
                  </a:moveTo>
                  <a:lnTo>
                    <a:pt x="0" y="272"/>
                  </a:lnTo>
                  <a:lnTo>
                    <a:pt x="0" y="0"/>
                  </a:lnTo>
                  <a:lnTo>
                    <a:pt x="234" y="136"/>
                  </a:lnTo>
                  <a:close/>
                </a:path>
              </a:pathLst>
            </a:custGeom>
            <a:gradFill>
              <a:gsLst>
                <a:gs pos="100000">
                  <a:srgbClr val="474582"/>
                </a:gs>
                <a:gs pos="0">
                  <a:srgbClr val="47448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3" name="Freeform 62"/>
            <p:cNvSpPr>
              <a:spLocks/>
            </p:cNvSpPr>
            <p:nvPr userDrawn="1"/>
          </p:nvSpPr>
          <p:spPr bwMode="auto">
            <a:xfrm flipH="1">
              <a:off x="5159375" y="3639344"/>
              <a:ext cx="368300" cy="431800"/>
            </a:xfrm>
            <a:custGeom>
              <a:avLst/>
              <a:gdLst>
                <a:gd name="T0" fmla="*/ 0 w 232"/>
                <a:gd name="T1" fmla="*/ 136 h 272"/>
                <a:gd name="T2" fmla="*/ 232 w 232"/>
                <a:gd name="T3" fmla="*/ 272 h 272"/>
                <a:gd name="T4" fmla="*/ 232 w 232"/>
                <a:gd name="T5" fmla="*/ 0 h 272"/>
                <a:gd name="T6" fmla="*/ 0 w 232"/>
                <a:gd name="T7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2">
                  <a:moveTo>
                    <a:pt x="0" y="136"/>
                  </a:moveTo>
                  <a:lnTo>
                    <a:pt x="232" y="272"/>
                  </a:lnTo>
                  <a:lnTo>
                    <a:pt x="232" y="0"/>
                  </a:lnTo>
                  <a:lnTo>
                    <a:pt x="0" y="136"/>
                  </a:lnTo>
                  <a:close/>
                </a:path>
              </a:pathLst>
            </a:custGeom>
            <a:gradFill>
              <a:gsLst>
                <a:gs pos="100000">
                  <a:srgbClr val="585199"/>
                </a:gs>
                <a:gs pos="0">
                  <a:srgbClr val="5F56A3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4" name="Freeform 63"/>
            <p:cNvSpPr>
              <a:spLocks/>
            </p:cNvSpPr>
            <p:nvPr userDrawn="1"/>
          </p:nvSpPr>
          <p:spPr bwMode="auto">
            <a:xfrm flipH="1">
              <a:off x="5895975" y="5996782"/>
              <a:ext cx="371475" cy="428625"/>
            </a:xfrm>
            <a:custGeom>
              <a:avLst/>
              <a:gdLst>
                <a:gd name="T0" fmla="*/ 234 w 234"/>
                <a:gd name="T1" fmla="*/ 136 h 270"/>
                <a:gd name="T2" fmla="*/ 0 w 234"/>
                <a:gd name="T3" fmla="*/ 270 h 270"/>
                <a:gd name="T4" fmla="*/ 0 w 234"/>
                <a:gd name="T5" fmla="*/ 0 h 270"/>
                <a:gd name="T6" fmla="*/ 234 w 234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0">
                  <a:moveTo>
                    <a:pt x="234" y="136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234" y="136"/>
                  </a:lnTo>
                  <a:close/>
                </a:path>
              </a:pathLst>
            </a:custGeom>
            <a:gradFill>
              <a:gsLst>
                <a:gs pos="100000">
                  <a:srgbClr val="2C2F5E"/>
                </a:gs>
                <a:gs pos="0">
                  <a:srgbClr val="33346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auto">
            <a:xfrm flipH="1">
              <a:off x="5159375" y="6425407"/>
              <a:ext cx="368300" cy="431800"/>
            </a:xfrm>
            <a:custGeom>
              <a:avLst/>
              <a:gdLst>
                <a:gd name="T0" fmla="*/ 232 w 232"/>
                <a:gd name="T1" fmla="*/ 136 h 272"/>
                <a:gd name="T2" fmla="*/ 0 w 232"/>
                <a:gd name="T3" fmla="*/ 272 h 272"/>
                <a:gd name="T4" fmla="*/ 0 w 232"/>
                <a:gd name="T5" fmla="*/ 0 h 272"/>
                <a:gd name="T6" fmla="*/ 232 w 232"/>
                <a:gd name="T7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2">
                  <a:moveTo>
                    <a:pt x="232" y="136"/>
                  </a:moveTo>
                  <a:lnTo>
                    <a:pt x="0" y="272"/>
                  </a:lnTo>
                  <a:lnTo>
                    <a:pt x="0" y="0"/>
                  </a:lnTo>
                  <a:lnTo>
                    <a:pt x="232" y="136"/>
                  </a:lnTo>
                  <a:close/>
                </a:path>
              </a:pathLst>
            </a:custGeom>
            <a:gradFill>
              <a:gsLst>
                <a:gs pos="100000">
                  <a:srgbClr val="252D67"/>
                </a:gs>
                <a:gs pos="0">
                  <a:srgbClr val="253F6B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auto">
            <a:xfrm flipH="1">
              <a:off x="5159375" y="5780882"/>
              <a:ext cx="368300" cy="428625"/>
            </a:xfrm>
            <a:custGeom>
              <a:avLst/>
              <a:gdLst>
                <a:gd name="T0" fmla="*/ 0 w 232"/>
                <a:gd name="T1" fmla="*/ 136 h 270"/>
                <a:gd name="T2" fmla="*/ 232 w 232"/>
                <a:gd name="T3" fmla="*/ 270 h 270"/>
                <a:gd name="T4" fmla="*/ 232 w 232"/>
                <a:gd name="T5" fmla="*/ 0 h 270"/>
                <a:gd name="T6" fmla="*/ 0 w 232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0" y="136"/>
                  </a:moveTo>
                  <a:lnTo>
                    <a:pt x="232" y="270"/>
                  </a:lnTo>
                  <a:lnTo>
                    <a:pt x="232" y="0"/>
                  </a:lnTo>
                  <a:lnTo>
                    <a:pt x="0" y="136"/>
                  </a:lnTo>
                  <a:close/>
                </a:path>
              </a:pathLst>
            </a:custGeom>
            <a:gradFill>
              <a:gsLst>
                <a:gs pos="100000">
                  <a:srgbClr val="50354C"/>
                </a:gs>
                <a:gs pos="0">
                  <a:srgbClr val="61323F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7" name="Freeform 66"/>
            <p:cNvSpPr>
              <a:spLocks/>
            </p:cNvSpPr>
            <p:nvPr userDrawn="1"/>
          </p:nvSpPr>
          <p:spPr bwMode="auto">
            <a:xfrm flipH="1">
              <a:off x="5899150" y="2139157"/>
              <a:ext cx="736600" cy="431800"/>
            </a:xfrm>
            <a:custGeom>
              <a:avLst/>
              <a:gdLst>
                <a:gd name="T0" fmla="*/ 464 w 464"/>
                <a:gd name="T1" fmla="*/ 136 h 272"/>
                <a:gd name="T2" fmla="*/ 232 w 464"/>
                <a:gd name="T3" fmla="*/ 272 h 272"/>
                <a:gd name="T4" fmla="*/ 0 w 464"/>
                <a:gd name="T5" fmla="*/ 136 h 272"/>
                <a:gd name="T6" fmla="*/ 232 w 464"/>
                <a:gd name="T7" fmla="*/ 0 h 272"/>
                <a:gd name="T8" fmla="*/ 464 w 464"/>
                <a:gd name="T9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4" h="272">
                  <a:moveTo>
                    <a:pt x="464" y="136"/>
                  </a:moveTo>
                  <a:lnTo>
                    <a:pt x="232" y="272"/>
                  </a:lnTo>
                  <a:lnTo>
                    <a:pt x="0" y="136"/>
                  </a:lnTo>
                  <a:lnTo>
                    <a:pt x="232" y="0"/>
                  </a:lnTo>
                  <a:lnTo>
                    <a:pt x="464" y="136"/>
                  </a:lnTo>
                  <a:close/>
                </a:path>
              </a:pathLst>
            </a:custGeom>
            <a:gradFill>
              <a:gsLst>
                <a:gs pos="100000">
                  <a:srgbClr val="637AC0"/>
                </a:gs>
                <a:gs pos="0">
                  <a:srgbClr val="6487CA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8" name="Freeform 67"/>
            <p:cNvSpPr>
              <a:spLocks/>
            </p:cNvSpPr>
            <p:nvPr userDrawn="1"/>
          </p:nvSpPr>
          <p:spPr bwMode="auto">
            <a:xfrm flipH="1">
              <a:off x="8112125" y="5996782"/>
              <a:ext cx="742950" cy="857250"/>
            </a:xfrm>
            <a:custGeom>
              <a:avLst/>
              <a:gdLst>
                <a:gd name="T0" fmla="*/ 0 w 468"/>
                <a:gd name="T1" fmla="*/ 406 h 540"/>
                <a:gd name="T2" fmla="*/ 234 w 468"/>
                <a:gd name="T3" fmla="*/ 540 h 540"/>
                <a:gd name="T4" fmla="*/ 468 w 468"/>
                <a:gd name="T5" fmla="*/ 406 h 540"/>
                <a:gd name="T6" fmla="*/ 468 w 468"/>
                <a:gd name="T7" fmla="*/ 136 h 540"/>
                <a:gd name="T8" fmla="*/ 234 w 468"/>
                <a:gd name="T9" fmla="*/ 0 h 540"/>
                <a:gd name="T10" fmla="*/ 234 w 468"/>
                <a:gd name="T11" fmla="*/ 270 h 540"/>
                <a:gd name="T12" fmla="*/ 0 w 468"/>
                <a:gd name="T13" fmla="*/ 40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40">
                  <a:moveTo>
                    <a:pt x="0" y="406"/>
                  </a:moveTo>
                  <a:lnTo>
                    <a:pt x="234" y="540"/>
                  </a:lnTo>
                  <a:lnTo>
                    <a:pt x="468" y="406"/>
                  </a:lnTo>
                  <a:lnTo>
                    <a:pt x="468" y="136"/>
                  </a:lnTo>
                  <a:lnTo>
                    <a:pt x="234" y="0"/>
                  </a:lnTo>
                  <a:lnTo>
                    <a:pt x="234" y="270"/>
                  </a:lnTo>
                  <a:lnTo>
                    <a:pt x="0" y="406"/>
                  </a:lnTo>
                  <a:close/>
                </a:path>
              </a:pathLst>
            </a:custGeom>
            <a:gradFill>
              <a:gsLst>
                <a:gs pos="100000">
                  <a:srgbClr val="283069"/>
                </a:gs>
                <a:gs pos="0">
                  <a:srgbClr val="224E6D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auto">
            <a:xfrm flipH="1">
              <a:off x="7375525" y="213519"/>
              <a:ext cx="368300" cy="428625"/>
            </a:xfrm>
            <a:custGeom>
              <a:avLst/>
              <a:gdLst>
                <a:gd name="T0" fmla="*/ 0 w 232"/>
                <a:gd name="T1" fmla="*/ 134 h 270"/>
                <a:gd name="T2" fmla="*/ 232 w 232"/>
                <a:gd name="T3" fmla="*/ 0 h 270"/>
                <a:gd name="T4" fmla="*/ 232 w 232"/>
                <a:gd name="T5" fmla="*/ 270 h 270"/>
                <a:gd name="T6" fmla="*/ 0 w 232"/>
                <a:gd name="T7" fmla="*/ 1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0" y="134"/>
                  </a:moveTo>
                  <a:lnTo>
                    <a:pt x="232" y="0"/>
                  </a:lnTo>
                  <a:lnTo>
                    <a:pt x="232" y="270"/>
                  </a:lnTo>
                  <a:lnTo>
                    <a:pt x="0" y="134"/>
                  </a:lnTo>
                  <a:close/>
                </a:path>
              </a:pathLst>
            </a:custGeom>
            <a:gradFill>
              <a:gsLst>
                <a:gs pos="100000">
                  <a:srgbClr val="9AC619"/>
                </a:gs>
                <a:gs pos="0">
                  <a:srgbClr val="ADCA0D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auto">
            <a:xfrm flipH="1">
              <a:off x="6635750" y="642144"/>
              <a:ext cx="374650" cy="639763"/>
            </a:xfrm>
            <a:custGeom>
              <a:avLst/>
              <a:gdLst>
                <a:gd name="T0" fmla="*/ 234 w 236"/>
                <a:gd name="T1" fmla="*/ 0 h 403"/>
                <a:gd name="T2" fmla="*/ 236 w 236"/>
                <a:gd name="T3" fmla="*/ 269 h 403"/>
                <a:gd name="T4" fmla="*/ 2 w 236"/>
                <a:gd name="T5" fmla="*/ 403 h 403"/>
                <a:gd name="T6" fmla="*/ 0 w 236"/>
                <a:gd name="T7" fmla="*/ 134 h 403"/>
                <a:gd name="T8" fmla="*/ 234 w 236"/>
                <a:gd name="T9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403">
                  <a:moveTo>
                    <a:pt x="234" y="0"/>
                  </a:moveTo>
                  <a:lnTo>
                    <a:pt x="236" y="269"/>
                  </a:lnTo>
                  <a:lnTo>
                    <a:pt x="2" y="403"/>
                  </a:lnTo>
                  <a:lnTo>
                    <a:pt x="0" y="134"/>
                  </a:lnTo>
                  <a:lnTo>
                    <a:pt x="234" y="0"/>
                  </a:lnTo>
                  <a:close/>
                </a:path>
              </a:pathLst>
            </a:custGeom>
            <a:gradFill>
              <a:gsLst>
                <a:gs pos="100000">
                  <a:srgbClr val="FE9E3F"/>
                </a:gs>
                <a:gs pos="0">
                  <a:srgbClr val="FDB049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1BBA778-64E4-9C4C-8806-1A8C377A9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5901" y="1658320"/>
            <a:ext cx="3179763" cy="1913364"/>
          </a:xfrm>
        </p:spPr>
        <p:txBody>
          <a:bodyPr lIns="0" tIns="0" rIns="0" bIns="0" anchor="b">
            <a:noAutofit/>
          </a:bodyPr>
          <a:lstStyle>
            <a:lvl1pPr>
              <a:defRPr sz="4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Divider title goes here</a:t>
            </a:r>
            <a:endParaRPr lang="ar-S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1C9796-CB07-194B-B62D-8AC12B657E1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225900" y="3768851"/>
            <a:ext cx="3179763" cy="114018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en-US" sz="2000" b="0" i="0" kern="1200" dirty="0">
                <a:solidFill>
                  <a:schemeClr val="tx1">
                    <a:tint val="75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Divider subtitle goes her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sp>
        <p:nvSpPr>
          <p:cNvPr id="11" name="Picture Placeholder 281"/>
          <p:cNvSpPr>
            <a:spLocks noGrp="1"/>
          </p:cNvSpPr>
          <p:nvPr>
            <p:ph type="pic" sz="quarter" idx="11"/>
          </p:nvPr>
        </p:nvSpPr>
        <p:spPr>
          <a:xfrm flipH="1">
            <a:off x="0" y="-1"/>
            <a:ext cx="7407272" cy="6858000"/>
          </a:xfrm>
          <a:custGeom>
            <a:avLst/>
            <a:gdLst>
              <a:gd name="connsiteX0" fmla="*/ 3698873 w 7407272"/>
              <a:gd name="connsiteY0" fmla="*/ 6009605 h 6858000"/>
              <a:gd name="connsiteX1" fmla="*/ 3338510 w 7407272"/>
              <a:gd name="connsiteY1" fmla="*/ 6219047 h 6858000"/>
              <a:gd name="connsiteX2" fmla="*/ 3338510 w 7407272"/>
              <a:gd name="connsiteY2" fmla="*/ 6634850 h 6858000"/>
              <a:gd name="connsiteX3" fmla="*/ 3698873 w 7407272"/>
              <a:gd name="connsiteY3" fmla="*/ 6841211 h 6858000"/>
              <a:gd name="connsiteX4" fmla="*/ 4059236 w 7407272"/>
              <a:gd name="connsiteY4" fmla="*/ 6634850 h 6858000"/>
              <a:gd name="connsiteX5" fmla="*/ 3698873 w 7407272"/>
              <a:gd name="connsiteY5" fmla="*/ 6425408 h 6858000"/>
              <a:gd name="connsiteX6" fmla="*/ 2230340 w 7407272"/>
              <a:gd name="connsiteY6" fmla="*/ 6006375 h 6858000"/>
              <a:gd name="connsiteX7" fmla="*/ 2227260 w 7407272"/>
              <a:gd name="connsiteY7" fmla="*/ 6419099 h 6858000"/>
              <a:gd name="connsiteX8" fmla="*/ 2587623 w 7407272"/>
              <a:gd name="connsiteY8" fmla="*/ 6628541 h 6858000"/>
              <a:gd name="connsiteX9" fmla="*/ 2947986 w 7407272"/>
              <a:gd name="connsiteY9" fmla="*/ 6425259 h 6858000"/>
              <a:gd name="connsiteX10" fmla="*/ 1848641 w 7407272"/>
              <a:gd name="connsiteY10" fmla="*/ 4931678 h 6858000"/>
              <a:gd name="connsiteX11" fmla="*/ 1488279 w 7407272"/>
              <a:gd name="connsiteY11" fmla="*/ 5141120 h 6858000"/>
              <a:gd name="connsiteX12" fmla="*/ 1848641 w 7407272"/>
              <a:gd name="connsiteY12" fmla="*/ 5350562 h 6858000"/>
              <a:gd name="connsiteX13" fmla="*/ 2216941 w 7407272"/>
              <a:gd name="connsiteY13" fmla="*/ 3861703 h 6858000"/>
              <a:gd name="connsiteX14" fmla="*/ 1856579 w 7407272"/>
              <a:gd name="connsiteY14" fmla="*/ 4071145 h 6858000"/>
              <a:gd name="connsiteX15" fmla="*/ 2216941 w 7407272"/>
              <a:gd name="connsiteY15" fmla="*/ 4280587 h 6858000"/>
              <a:gd name="connsiteX16" fmla="*/ 2956716 w 7407272"/>
              <a:gd name="connsiteY16" fmla="*/ 3858528 h 6858000"/>
              <a:gd name="connsiteX17" fmla="*/ 2596354 w 7407272"/>
              <a:gd name="connsiteY17" fmla="*/ 4071050 h 6858000"/>
              <a:gd name="connsiteX18" fmla="*/ 2956716 w 7407272"/>
              <a:gd name="connsiteY18" fmla="*/ 4277412 h 6858000"/>
              <a:gd name="connsiteX19" fmla="*/ 2228007 w 7407272"/>
              <a:gd name="connsiteY19" fmla="*/ 3433031 h 6858000"/>
              <a:gd name="connsiteX20" fmla="*/ 2228007 w 7407272"/>
              <a:gd name="connsiteY20" fmla="*/ 3848835 h 6858000"/>
              <a:gd name="connsiteX21" fmla="*/ 2585289 w 7407272"/>
              <a:gd name="connsiteY21" fmla="*/ 3639394 h 6858000"/>
              <a:gd name="connsiteX22" fmla="*/ 736598 w 7407272"/>
              <a:gd name="connsiteY22" fmla="*/ 2997200 h 6858000"/>
              <a:gd name="connsiteX23" fmla="*/ 736598 w 7407272"/>
              <a:gd name="connsiteY23" fmla="*/ 3425825 h 6858000"/>
              <a:gd name="connsiteX24" fmla="*/ 365123 w 7407272"/>
              <a:gd name="connsiteY24" fmla="*/ 3209925 h 6858000"/>
              <a:gd name="connsiteX25" fmla="*/ 1482723 w 7407272"/>
              <a:gd name="connsiteY25" fmla="*/ 2145617 h 6858000"/>
              <a:gd name="connsiteX26" fmla="*/ 1125440 w 7407272"/>
              <a:gd name="connsiteY26" fmla="*/ 2355059 h 6858000"/>
              <a:gd name="connsiteX27" fmla="*/ 1482723 w 7407272"/>
              <a:gd name="connsiteY27" fmla="*/ 2564500 h 6858000"/>
              <a:gd name="connsiteX28" fmla="*/ 1840006 w 7407272"/>
              <a:gd name="connsiteY28" fmla="*/ 2355059 h 6858000"/>
              <a:gd name="connsiteX29" fmla="*/ 2596307 w 7407272"/>
              <a:gd name="connsiteY29" fmla="*/ 1932845 h 6858000"/>
              <a:gd name="connsiteX30" fmla="*/ 2596307 w 7407272"/>
              <a:gd name="connsiteY30" fmla="*/ 2348649 h 6858000"/>
              <a:gd name="connsiteX31" fmla="*/ 2953589 w 7407272"/>
              <a:gd name="connsiteY31" fmla="*/ 2139206 h 6858000"/>
              <a:gd name="connsiteX32" fmla="*/ 371474 w 7407272"/>
              <a:gd name="connsiteY32" fmla="*/ 1925636 h 6858000"/>
              <a:gd name="connsiteX33" fmla="*/ 371474 w 7407272"/>
              <a:gd name="connsiteY33" fmla="*/ 2784474 h 6858000"/>
              <a:gd name="connsiteX34" fmla="*/ 0 w 7407272"/>
              <a:gd name="connsiteY34" fmla="*/ 2571749 h 6858000"/>
              <a:gd name="connsiteX35" fmla="*/ 0 w 7407272"/>
              <a:gd name="connsiteY35" fmla="*/ 2138361 h 6858000"/>
              <a:gd name="connsiteX36" fmla="*/ 3325016 w 7407272"/>
              <a:gd name="connsiteY36" fmla="*/ 1075596 h 6858000"/>
              <a:gd name="connsiteX37" fmla="*/ 2964654 w 7407272"/>
              <a:gd name="connsiteY37" fmla="*/ 1281958 h 6858000"/>
              <a:gd name="connsiteX38" fmla="*/ 3325016 w 7407272"/>
              <a:gd name="connsiteY38" fmla="*/ 1491400 h 6858000"/>
              <a:gd name="connsiteX39" fmla="*/ 1479548 w 7407272"/>
              <a:gd name="connsiteY39" fmla="*/ 854076 h 6858000"/>
              <a:gd name="connsiteX40" fmla="*/ 1479548 w 7407272"/>
              <a:gd name="connsiteY40" fmla="*/ 1282701 h 6858000"/>
              <a:gd name="connsiteX41" fmla="*/ 1108074 w 7407272"/>
              <a:gd name="connsiteY41" fmla="*/ 1066801 h 6858000"/>
              <a:gd name="connsiteX42" fmla="*/ 4064791 w 7407272"/>
              <a:gd name="connsiteY42" fmla="*/ 651816 h 6858000"/>
              <a:gd name="connsiteX43" fmla="*/ 3704429 w 7407272"/>
              <a:gd name="connsiteY43" fmla="*/ 858178 h 6858000"/>
              <a:gd name="connsiteX44" fmla="*/ 3704429 w 7407272"/>
              <a:gd name="connsiteY44" fmla="*/ 1278602 h 6858000"/>
              <a:gd name="connsiteX45" fmla="*/ 4064791 w 7407272"/>
              <a:gd name="connsiteY45" fmla="*/ 1484965 h 6858000"/>
              <a:gd name="connsiteX46" fmla="*/ 4405087 w 7407272"/>
              <a:gd name="connsiteY46" fmla="*/ 0 h 6858000"/>
              <a:gd name="connsiteX47" fmla="*/ 7407272 w 7407272"/>
              <a:gd name="connsiteY47" fmla="*/ 0 h 6858000"/>
              <a:gd name="connsiteX48" fmla="*/ 7407272 w 7407272"/>
              <a:gd name="connsiteY48" fmla="*/ 6858000 h 6858000"/>
              <a:gd name="connsiteX49" fmla="*/ 2213486 w 7407272"/>
              <a:gd name="connsiteY49" fmla="*/ 6858000 h 6858000"/>
              <a:gd name="connsiteX50" fmla="*/ 1854198 w 7407272"/>
              <a:gd name="connsiteY50" fmla="*/ 6643687 h 6858000"/>
              <a:gd name="connsiteX51" fmla="*/ 1856579 w 7407272"/>
              <a:gd name="connsiteY51" fmla="*/ 6207919 h 6858000"/>
              <a:gd name="connsiteX52" fmla="*/ 2223292 w 7407272"/>
              <a:gd name="connsiteY52" fmla="*/ 6003131 h 6858000"/>
              <a:gd name="connsiteX53" fmla="*/ 1482723 w 7407272"/>
              <a:gd name="connsiteY53" fmla="*/ 5572125 h 6858000"/>
              <a:gd name="connsiteX54" fmla="*/ 1101723 w 7407272"/>
              <a:gd name="connsiteY54" fmla="*/ 5788819 h 6858000"/>
              <a:gd name="connsiteX55" fmla="*/ 735010 w 7407272"/>
              <a:gd name="connsiteY55" fmla="*/ 5557838 h 6858000"/>
              <a:gd name="connsiteX56" fmla="*/ 744535 w 7407272"/>
              <a:gd name="connsiteY56" fmla="*/ 3855243 h 6858000"/>
              <a:gd name="connsiteX57" fmla="*/ 1111248 w 7407272"/>
              <a:gd name="connsiteY57" fmla="*/ 3633787 h 6858000"/>
              <a:gd name="connsiteX58" fmla="*/ 1118392 w 7407272"/>
              <a:gd name="connsiteY58" fmla="*/ 2783681 h 6858000"/>
              <a:gd name="connsiteX59" fmla="*/ 742154 w 7407272"/>
              <a:gd name="connsiteY59" fmla="*/ 2571750 h 6858000"/>
              <a:gd name="connsiteX60" fmla="*/ 746123 w 7407272"/>
              <a:gd name="connsiteY60" fmla="*/ 2143125 h 6858000"/>
              <a:gd name="connsiteX61" fmla="*/ 1841498 w 7407272"/>
              <a:gd name="connsiteY61" fmla="*/ 1485900 h 6858000"/>
              <a:gd name="connsiteX62" fmla="*/ 2209798 w 7407272"/>
              <a:gd name="connsiteY62" fmla="*/ 1708150 h 6858000"/>
              <a:gd name="connsiteX63" fmla="*/ 2584448 w 7407272"/>
              <a:gd name="connsiteY63" fmla="*/ 1479550 h 6858000"/>
              <a:gd name="connsiteX64" fmla="*/ 2587623 w 7407272"/>
              <a:gd name="connsiteY64" fmla="*/ 10572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7407272" h="6858000">
                <a:moveTo>
                  <a:pt x="3698873" y="6009605"/>
                </a:moveTo>
                <a:lnTo>
                  <a:pt x="3338510" y="6219047"/>
                </a:lnTo>
                <a:lnTo>
                  <a:pt x="3338510" y="6634850"/>
                </a:lnTo>
                <a:lnTo>
                  <a:pt x="3698873" y="6841211"/>
                </a:lnTo>
                <a:lnTo>
                  <a:pt x="4059236" y="6634850"/>
                </a:lnTo>
                <a:lnTo>
                  <a:pt x="3698873" y="6425408"/>
                </a:lnTo>
                <a:close/>
                <a:moveTo>
                  <a:pt x="2230340" y="6006375"/>
                </a:moveTo>
                <a:lnTo>
                  <a:pt x="2227260" y="6419099"/>
                </a:lnTo>
                <a:lnTo>
                  <a:pt x="2587623" y="6628541"/>
                </a:lnTo>
                <a:lnTo>
                  <a:pt x="2947986" y="6425259"/>
                </a:lnTo>
                <a:close/>
                <a:moveTo>
                  <a:pt x="1848641" y="4931678"/>
                </a:moveTo>
                <a:lnTo>
                  <a:pt x="1488279" y="5141120"/>
                </a:lnTo>
                <a:lnTo>
                  <a:pt x="1848641" y="5350562"/>
                </a:lnTo>
                <a:close/>
                <a:moveTo>
                  <a:pt x="2216941" y="3861703"/>
                </a:moveTo>
                <a:lnTo>
                  <a:pt x="1856579" y="4071145"/>
                </a:lnTo>
                <a:lnTo>
                  <a:pt x="2216941" y="4280587"/>
                </a:lnTo>
                <a:close/>
                <a:moveTo>
                  <a:pt x="2956716" y="3858528"/>
                </a:moveTo>
                <a:lnTo>
                  <a:pt x="2596354" y="4071050"/>
                </a:lnTo>
                <a:lnTo>
                  <a:pt x="2956716" y="4277412"/>
                </a:lnTo>
                <a:close/>
                <a:moveTo>
                  <a:pt x="2228007" y="3433031"/>
                </a:moveTo>
                <a:lnTo>
                  <a:pt x="2228007" y="3848835"/>
                </a:lnTo>
                <a:lnTo>
                  <a:pt x="2585289" y="3639394"/>
                </a:lnTo>
                <a:close/>
                <a:moveTo>
                  <a:pt x="736598" y="2997200"/>
                </a:moveTo>
                <a:lnTo>
                  <a:pt x="736598" y="3425825"/>
                </a:lnTo>
                <a:lnTo>
                  <a:pt x="365123" y="3209925"/>
                </a:lnTo>
                <a:close/>
                <a:moveTo>
                  <a:pt x="1482723" y="2145617"/>
                </a:moveTo>
                <a:lnTo>
                  <a:pt x="1125440" y="2355059"/>
                </a:lnTo>
                <a:lnTo>
                  <a:pt x="1482723" y="2564500"/>
                </a:lnTo>
                <a:lnTo>
                  <a:pt x="1840006" y="2355059"/>
                </a:lnTo>
                <a:close/>
                <a:moveTo>
                  <a:pt x="2596307" y="1932845"/>
                </a:moveTo>
                <a:lnTo>
                  <a:pt x="2596307" y="2348649"/>
                </a:lnTo>
                <a:lnTo>
                  <a:pt x="2953589" y="2139206"/>
                </a:lnTo>
                <a:close/>
                <a:moveTo>
                  <a:pt x="371474" y="1925636"/>
                </a:moveTo>
                <a:lnTo>
                  <a:pt x="371474" y="2784474"/>
                </a:lnTo>
                <a:lnTo>
                  <a:pt x="0" y="2571749"/>
                </a:lnTo>
                <a:lnTo>
                  <a:pt x="0" y="2138361"/>
                </a:lnTo>
                <a:close/>
                <a:moveTo>
                  <a:pt x="3325016" y="1075596"/>
                </a:moveTo>
                <a:lnTo>
                  <a:pt x="2964654" y="1281958"/>
                </a:lnTo>
                <a:lnTo>
                  <a:pt x="3325016" y="1491400"/>
                </a:lnTo>
                <a:close/>
                <a:moveTo>
                  <a:pt x="1479548" y="854076"/>
                </a:moveTo>
                <a:lnTo>
                  <a:pt x="1479548" y="1282701"/>
                </a:lnTo>
                <a:lnTo>
                  <a:pt x="1108074" y="1066801"/>
                </a:lnTo>
                <a:close/>
                <a:moveTo>
                  <a:pt x="4064791" y="651816"/>
                </a:moveTo>
                <a:lnTo>
                  <a:pt x="3704429" y="858178"/>
                </a:lnTo>
                <a:lnTo>
                  <a:pt x="3704429" y="1278602"/>
                </a:lnTo>
                <a:lnTo>
                  <a:pt x="4064791" y="1484965"/>
                </a:lnTo>
                <a:close/>
                <a:moveTo>
                  <a:pt x="4405087" y="0"/>
                </a:moveTo>
                <a:lnTo>
                  <a:pt x="7407272" y="0"/>
                </a:lnTo>
                <a:lnTo>
                  <a:pt x="7407272" y="6858000"/>
                </a:lnTo>
                <a:lnTo>
                  <a:pt x="2213486" y="6858000"/>
                </a:lnTo>
                <a:lnTo>
                  <a:pt x="1854198" y="6643687"/>
                </a:lnTo>
                <a:cubicBezTo>
                  <a:pt x="1854992" y="6493668"/>
                  <a:pt x="1855785" y="6357938"/>
                  <a:pt x="1856579" y="6207919"/>
                </a:cubicBezTo>
                <a:lnTo>
                  <a:pt x="2223292" y="6003131"/>
                </a:lnTo>
                <a:lnTo>
                  <a:pt x="1482723" y="5572125"/>
                </a:lnTo>
                <a:lnTo>
                  <a:pt x="1101723" y="5788819"/>
                </a:lnTo>
                <a:lnTo>
                  <a:pt x="735010" y="5557838"/>
                </a:lnTo>
                <a:cubicBezTo>
                  <a:pt x="735804" y="4988719"/>
                  <a:pt x="743741" y="4424362"/>
                  <a:pt x="744535" y="3855243"/>
                </a:cubicBezTo>
                <a:lnTo>
                  <a:pt x="1111248" y="3633787"/>
                </a:lnTo>
                <a:cubicBezTo>
                  <a:pt x="1113629" y="3350418"/>
                  <a:pt x="1116011" y="3067050"/>
                  <a:pt x="1118392" y="2783681"/>
                </a:cubicBezTo>
                <a:lnTo>
                  <a:pt x="742154" y="2571750"/>
                </a:lnTo>
                <a:lnTo>
                  <a:pt x="746123" y="2143125"/>
                </a:lnTo>
                <a:lnTo>
                  <a:pt x="1841498" y="1485900"/>
                </a:lnTo>
                <a:lnTo>
                  <a:pt x="2209798" y="1708150"/>
                </a:lnTo>
                <a:lnTo>
                  <a:pt x="2584448" y="1479550"/>
                </a:lnTo>
                <a:cubicBezTo>
                  <a:pt x="2585506" y="1336675"/>
                  <a:pt x="2586565" y="1200150"/>
                  <a:pt x="2587623" y="105727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41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546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7708900" y="0"/>
            <a:ext cx="4483100" cy="25146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rgbClr val="FFFFFF"/>
              </a:solidFill>
              <a:latin typeface="Objectivity Light" pitchFamily="2" charset="77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CDAF40AC-B35D-FE43-8BA0-4467369C02E8}"/>
              </a:ext>
            </a:extLst>
          </p:cNvPr>
          <p:cNvSpPr/>
          <p:nvPr userDrawn="1"/>
        </p:nvSpPr>
        <p:spPr>
          <a:xfrm>
            <a:off x="0" y="0"/>
            <a:ext cx="12194088" cy="6858000"/>
          </a:xfrm>
          <a:custGeom>
            <a:avLst/>
            <a:gdLst>
              <a:gd name="connsiteX0" fmla="*/ 8135655 w 12194088"/>
              <a:gd name="connsiteY0" fmla="*/ 0 h 6858000"/>
              <a:gd name="connsiteX1" fmla="*/ 12187825 w 12194088"/>
              <a:gd name="connsiteY1" fmla="*/ 2361156 h 6858000"/>
              <a:gd name="connsiteX2" fmla="*/ 12194088 w 12194088"/>
              <a:gd name="connsiteY2" fmla="*/ 6858000 h 6858000"/>
              <a:gd name="connsiteX3" fmla="*/ 0 w 12194088"/>
              <a:gd name="connsiteY3" fmla="*/ 6858000 h 6858000"/>
              <a:gd name="connsiteX4" fmla="*/ 0 w 12194088"/>
              <a:gd name="connsiteY4" fmla="*/ 0 h 6858000"/>
              <a:gd name="connsiteX5" fmla="*/ 8135655 w 12194088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4088" h="6858000">
                <a:moveTo>
                  <a:pt x="8135655" y="0"/>
                </a:moveTo>
                <a:lnTo>
                  <a:pt x="12187825" y="2361156"/>
                </a:lnTo>
                <a:cubicBezTo>
                  <a:pt x="12189913" y="3860104"/>
                  <a:pt x="12192000" y="5359052"/>
                  <a:pt x="12194088" y="6858000"/>
                </a:cubicBezTo>
                <a:lnTo>
                  <a:pt x="0" y="6858000"/>
                </a:lnTo>
                <a:lnTo>
                  <a:pt x="0" y="0"/>
                </a:lnTo>
                <a:lnTo>
                  <a:pt x="813565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SA" b="0" i="0" dirty="0"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AED6B8-A172-634F-A863-A430FCA31B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325" y="1422400"/>
            <a:ext cx="3068638" cy="985838"/>
          </a:xfrm>
        </p:spPr>
        <p:txBody>
          <a:bodyPr lIns="0" tIns="0" rIns="0" bIns="0">
            <a:noAutofit/>
          </a:bodyPr>
          <a:lstStyle>
            <a:lvl1pPr marL="7938" indent="0">
              <a:buNone/>
              <a:tabLst/>
              <a:defRPr sz="18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7938" indent="0">
              <a:buNone/>
              <a:tabLst/>
              <a:defRPr sz="1800"/>
            </a:lvl2pPr>
            <a:lvl3pPr marL="7938" indent="0">
              <a:buNone/>
              <a:tabLst/>
              <a:defRPr sz="1800"/>
            </a:lvl3pPr>
            <a:lvl4pPr marL="7938" indent="0">
              <a:buNone/>
              <a:tabLst/>
              <a:defRPr sz="1800"/>
            </a:lvl4pPr>
            <a:lvl5pPr marL="7938" indent="0">
              <a:buNone/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C8C4F23-1A89-804E-8593-8E3037FBC3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3246698"/>
            <a:ext cx="3068638" cy="2334360"/>
          </a:xfrm>
        </p:spPr>
        <p:txBody>
          <a:bodyPr lIns="0" tIns="0" rIns="0" bIns="0">
            <a:noAutofit/>
          </a:bodyPr>
          <a:lstStyle>
            <a:lvl1pPr marL="7938" indent="0">
              <a:buNone/>
              <a:tabLst/>
              <a:defRPr sz="18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7938" indent="0">
              <a:buNone/>
              <a:tabLst/>
              <a:defRPr sz="1800">
                <a:solidFill>
                  <a:schemeClr val="tx2"/>
                </a:solidFill>
              </a:defRPr>
            </a:lvl2pPr>
            <a:lvl3pPr marL="7938" indent="0">
              <a:buNone/>
              <a:tabLst/>
              <a:defRPr sz="1800">
                <a:solidFill>
                  <a:schemeClr val="tx2"/>
                </a:solidFill>
              </a:defRPr>
            </a:lvl3pPr>
            <a:lvl4pPr marL="7938" indent="0">
              <a:buNone/>
              <a:tabLst/>
              <a:defRPr sz="1800">
                <a:solidFill>
                  <a:schemeClr val="tx2"/>
                </a:solidFill>
              </a:defRPr>
            </a:lvl4pPr>
            <a:lvl5pPr marL="7938" indent="0">
              <a:buNone/>
              <a:tabLst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809AF570-C745-5241-BDB2-3F3C6B5125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178081" y="3246699"/>
            <a:ext cx="1638015" cy="233436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2pPr>
            <a:lvl3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4pPr>
            <a:lvl5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ar-SA" dirty="0"/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DDB6E15-9D3E-8048-859B-F03F1DA0EEE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30214" y="3246699"/>
            <a:ext cx="1638015" cy="233436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2pPr>
            <a:lvl3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4pPr>
            <a:lvl5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ar-SA" dirty="0"/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E6286804-E86C-B243-9155-B54B48C0680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82348" y="3246699"/>
            <a:ext cx="1638015" cy="233436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2pPr>
            <a:lvl3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4pPr>
            <a:lvl5pPr marL="0" indent="0">
              <a:lnSpc>
                <a:spcPct val="100000"/>
              </a:lnSpc>
              <a:spcBef>
                <a:spcPts val="500"/>
              </a:spcBef>
              <a:buNone/>
              <a:tabLst/>
              <a:defRPr sz="1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ar-SA" dirty="0"/>
          </a:p>
        </p:txBody>
      </p:sp>
      <p:sp>
        <p:nvSpPr>
          <p:cNvPr id="26" name="Rectangle 25"/>
          <p:cNvSpPr/>
          <p:nvPr userDrawn="1"/>
        </p:nvSpPr>
        <p:spPr>
          <a:xfrm rot="19748668">
            <a:off x="721645" y="887647"/>
            <a:ext cx="628650" cy="138720"/>
          </a:xfrm>
          <a:prstGeom prst="rect">
            <a:avLst/>
          </a:prstGeom>
          <a:solidFill>
            <a:srgbClr val="F2F2F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10764836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2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Slide title goes here</a:t>
            </a:r>
            <a:endParaRPr lang="ar-SA" dirty="0"/>
          </a:p>
        </p:txBody>
      </p:sp>
      <p:sp>
        <p:nvSpPr>
          <p:cNvPr id="31" name="TextBox 30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sp>
        <p:nvSpPr>
          <p:cNvPr id="33" name="Triangle 16">
            <a:extLst>
              <a:ext uri="{FF2B5EF4-FFF2-40B4-BE49-F238E27FC236}">
                <a16:creationId xmlns:a16="http://schemas.microsoft.com/office/drawing/2014/main" id="{B118DDEA-9223-2C42-8363-F6A82B6B1F73}"/>
              </a:ext>
            </a:extLst>
          </p:cNvPr>
          <p:cNvSpPr/>
          <p:nvPr userDrawn="1"/>
        </p:nvSpPr>
        <p:spPr>
          <a:xfrm rot="16200000">
            <a:off x="4415375" y="-187957"/>
            <a:ext cx="436639" cy="376413"/>
          </a:xfrm>
          <a:prstGeom prst="triangle">
            <a:avLst/>
          </a:prstGeom>
          <a:gradFill>
            <a:gsLst>
              <a:gs pos="50000">
                <a:srgbClr val="33CC99"/>
              </a:gs>
              <a:gs pos="0">
                <a:srgbClr val="99D633"/>
              </a:gs>
              <a:gs pos="100000">
                <a:srgbClr val="273370"/>
              </a:gs>
            </a:gsLst>
            <a:lin ang="10800000" scaled="0"/>
          </a:gra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4" name="Triangle 17">
            <a:extLst>
              <a:ext uri="{FF2B5EF4-FFF2-40B4-BE49-F238E27FC236}">
                <a16:creationId xmlns:a16="http://schemas.microsoft.com/office/drawing/2014/main" id="{41E55C41-F1EE-EC47-8F3A-432F55C5943B}"/>
              </a:ext>
            </a:extLst>
          </p:cNvPr>
          <p:cNvSpPr/>
          <p:nvPr userDrawn="1"/>
        </p:nvSpPr>
        <p:spPr>
          <a:xfrm rot="5400000">
            <a:off x="6624277" y="883027"/>
            <a:ext cx="436639" cy="376413"/>
          </a:xfrm>
          <a:prstGeom prst="triangle">
            <a:avLst/>
          </a:prstGeom>
          <a:gradFill>
            <a:gsLst>
              <a:gs pos="50000">
                <a:srgbClr val="FF6633"/>
              </a:gs>
              <a:gs pos="0">
                <a:srgbClr val="FCBD4C"/>
              </a:gs>
              <a:gs pos="100000">
                <a:srgbClr val="273370"/>
              </a:gs>
            </a:gsLst>
            <a:lin ang="0" scaled="0"/>
          </a:gra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5" name="Rectangle 15">
            <a:extLst>
              <a:ext uri="{FF2B5EF4-FFF2-40B4-BE49-F238E27FC236}">
                <a16:creationId xmlns:a16="http://schemas.microsoft.com/office/drawing/2014/main" id="{90B6C4FF-9E23-6B47-AF70-E1D961089043}"/>
              </a:ext>
            </a:extLst>
          </p:cNvPr>
          <p:cNvSpPr/>
          <p:nvPr userDrawn="1"/>
        </p:nvSpPr>
        <p:spPr>
          <a:xfrm>
            <a:off x="0" y="1710538"/>
            <a:ext cx="372066" cy="1076806"/>
          </a:xfrm>
          <a:custGeom>
            <a:avLst/>
            <a:gdLst>
              <a:gd name="connsiteX0" fmla="*/ 0 w 372066"/>
              <a:gd name="connsiteY0" fmla="*/ 0 h 849782"/>
              <a:gd name="connsiteX1" fmla="*/ 372066 w 372066"/>
              <a:gd name="connsiteY1" fmla="*/ 0 h 849782"/>
              <a:gd name="connsiteX2" fmla="*/ 372066 w 372066"/>
              <a:gd name="connsiteY2" fmla="*/ 849782 h 849782"/>
              <a:gd name="connsiteX3" fmla="*/ 0 w 372066"/>
              <a:gd name="connsiteY3" fmla="*/ 849782 h 849782"/>
              <a:gd name="connsiteX4" fmla="*/ 0 w 372066"/>
              <a:gd name="connsiteY4" fmla="*/ 0 h 849782"/>
              <a:gd name="connsiteX0" fmla="*/ 0 w 372066"/>
              <a:gd name="connsiteY0" fmla="*/ 0 h 1076806"/>
              <a:gd name="connsiteX1" fmla="*/ 372066 w 372066"/>
              <a:gd name="connsiteY1" fmla="*/ 0 h 1076806"/>
              <a:gd name="connsiteX2" fmla="*/ 372066 w 372066"/>
              <a:gd name="connsiteY2" fmla="*/ 1076806 h 1076806"/>
              <a:gd name="connsiteX3" fmla="*/ 0 w 372066"/>
              <a:gd name="connsiteY3" fmla="*/ 849782 h 1076806"/>
              <a:gd name="connsiteX4" fmla="*/ 0 w 372066"/>
              <a:gd name="connsiteY4" fmla="*/ 0 h 1076806"/>
              <a:gd name="connsiteX0" fmla="*/ 0 w 372066"/>
              <a:gd name="connsiteY0" fmla="*/ 0 h 1076806"/>
              <a:gd name="connsiteX1" fmla="*/ 346841 w 372066"/>
              <a:gd name="connsiteY1" fmla="*/ 296392 h 1076806"/>
              <a:gd name="connsiteX2" fmla="*/ 372066 w 372066"/>
              <a:gd name="connsiteY2" fmla="*/ 1076806 h 1076806"/>
              <a:gd name="connsiteX3" fmla="*/ 0 w 372066"/>
              <a:gd name="connsiteY3" fmla="*/ 849782 h 1076806"/>
              <a:gd name="connsiteX4" fmla="*/ 0 w 372066"/>
              <a:gd name="connsiteY4" fmla="*/ 0 h 1076806"/>
              <a:gd name="connsiteX0" fmla="*/ 0 w 372066"/>
              <a:gd name="connsiteY0" fmla="*/ 0 h 1076806"/>
              <a:gd name="connsiteX1" fmla="*/ 365759 w 372066"/>
              <a:gd name="connsiteY1" fmla="*/ 214411 h 1076806"/>
              <a:gd name="connsiteX2" fmla="*/ 372066 w 372066"/>
              <a:gd name="connsiteY2" fmla="*/ 1076806 h 1076806"/>
              <a:gd name="connsiteX3" fmla="*/ 0 w 372066"/>
              <a:gd name="connsiteY3" fmla="*/ 849782 h 1076806"/>
              <a:gd name="connsiteX4" fmla="*/ 0 w 372066"/>
              <a:gd name="connsiteY4" fmla="*/ 0 h 1076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2066" h="1076806">
                <a:moveTo>
                  <a:pt x="0" y="0"/>
                </a:moveTo>
                <a:lnTo>
                  <a:pt x="365759" y="214411"/>
                </a:lnTo>
                <a:cubicBezTo>
                  <a:pt x="367861" y="501876"/>
                  <a:pt x="369964" y="789341"/>
                  <a:pt x="372066" y="1076806"/>
                </a:cubicBezTo>
                <a:lnTo>
                  <a:pt x="0" y="84978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50000">
                <a:srgbClr val="33CC99"/>
              </a:gs>
              <a:gs pos="0">
                <a:srgbClr val="99D633"/>
              </a:gs>
              <a:gs pos="100000">
                <a:srgbClr val="273370"/>
              </a:gs>
            </a:gsLst>
            <a:lin ang="5400000" scaled="0"/>
          </a:gra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FAD99CFF-0ACC-314D-BEDA-1BCD33AF0903}"/>
              </a:ext>
            </a:extLst>
          </p:cNvPr>
          <p:cNvSpPr/>
          <p:nvPr userDrawn="1"/>
        </p:nvSpPr>
        <p:spPr>
          <a:xfrm>
            <a:off x="8495145" y="6221289"/>
            <a:ext cx="730250" cy="862233"/>
          </a:xfrm>
          <a:custGeom>
            <a:avLst/>
            <a:gdLst>
              <a:gd name="connsiteX0" fmla="*/ 361950 w 730250"/>
              <a:gd name="connsiteY0" fmla="*/ 638175 h 638175"/>
              <a:gd name="connsiteX1" fmla="*/ 730250 w 730250"/>
              <a:gd name="connsiteY1" fmla="*/ 638175 h 638175"/>
              <a:gd name="connsiteX2" fmla="*/ 730250 w 730250"/>
              <a:gd name="connsiteY2" fmla="*/ 212725 h 638175"/>
              <a:gd name="connsiteX3" fmla="*/ 358775 w 730250"/>
              <a:gd name="connsiteY3" fmla="*/ 0 h 638175"/>
              <a:gd name="connsiteX4" fmla="*/ 0 w 730250"/>
              <a:gd name="connsiteY4" fmla="*/ 215900 h 638175"/>
              <a:gd name="connsiteX5" fmla="*/ 365125 w 730250"/>
              <a:gd name="connsiteY5" fmla="*/ 428625 h 638175"/>
              <a:gd name="connsiteX6" fmla="*/ 361950 w 730250"/>
              <a:gd name="connsiteY6" fmla="*/ 638175 h 638175"/>
              <a:gd name="connsiteX0" fmla="*/ 361950 w 730250"/>
              <a:gd name="connsiteY0" fmla="*/ 638175 h 862233"/>
              <a:gd name="connsiteX1" fmla="*/ 718138 w 730250"/>
              <a:gd name="connsiteY1" fmla="*/ 862233 h 862233"/>
              <a:gd name="connsiteX2" fmla="*/ 730250 w 730250"/>
              <a:gd name="connsiteY2" fmla="*/ 212725 h 862233"/>
              <a:gd name="connsiteX3" fmla="*/ 358775 w 730250"/>
              <a:gd name="connsiteY3" fmla="*/ 0 h 862233"/>
              <a:gd name="connsiteX4" fmla="*/ 0 w 730250"/>
              <a:gd name="connsiteY4" fmla="*/ 215900 h 862233"/>
              <a:gd name="connsiteX5" fmla="*/ 365125 w 730250"/>
              <a:gd name="connsiteY5" fmla="*/ 428625 h 862233"/>
              <a:gd name="connsiteX6" fmla="*/ 361950 w 730250"/>
              <a:gd name="connsiteY6" fmla="*/ 638175 h 862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0250" h="862233">
                <a:moveTo>
                  <a:pt x="361950" y="638175"/>
                </a:moveTo>
                <a:lnTo>
                  <a:pt x="718138" y="862233"/>
                </a:lnTo>
                <a:lnTo>
                  <a:pt x="730250" y="212725"/>
                </a:lnTo>
                <a:lnTo>
                  <a:pt x="358775" y="0"/>
                </a:lnTo>
                <a:lnTo>
                  <a:pt x="0" y="215900"/>
                </a:lnTo>
                <a:lnTo>
                  <a:pt x="365125" y="428625"/>
                </a:lnTo>
                <a:cubicBezTo>
                  <a:pt x="364067" y="498475"/>
                  <a:pt x="363008" y="568325"/>
                  <a:pt x="361950" y="638175"/>
                </a:cubicBezTo>
                <a:close/>
              </a:path>
            </a:pathLst>
          </a:custGeom>
          <a:gradFill>
            <a:gsLst>
              <a:gs pos="50000">
                <a:srgbClr val="6258A6"/>
              </a:gs>
              <a:gs pos="0">
                <a:srgbClr val="66CCFF"/>
              </a:gs>
              <a:gs pos="100000">
                <a:srgbClr val="273370"/>
              </a:gs>
            </a:gsLst>
            <a:lin ang="5400000" scaled="0"/>
          </a:gra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025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421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 flipH="1">
            <a:off x="1854763" y="0"/>
            <a:ext cx="10337237" cy="6858001"/>
            <a:chOff x="0" y="0"/>
            <a:chExt cx="10337237" cy="6858001"/>
          </a:xfrm>
        </p:grpSpPr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0" y="0"/>
              <a:ext cx="9965762" cy="6858001"/>
            </a:xfrm>
            <a:custGeom>
              <a:avLst/>
              <a:gdLst>
                <a:gd name="connsiteX0" fmla="*/ 7385001 w 9965762"/>
                <a:gd name="connsiteY0" fmla="*/ 5774783 h 6858001"/>
                <a:gd name="connsiteX1" fmla="*/ 7016701 w 9965762"/>
                <a:gd name="connsiteY1" fmla="*/ 5993858 h 6858001"/>
                <a:gd name="connsiteX2" fmla="*/ 7385001 w 9965762"/>
                <a:gd name="connsiteY2" fmla="*/ 6206583 h 6858001"/>
                <a:gd name="connsiteX3" fmla="*/ 7381057 w 9965762"/>
                <a:gd name="connsiteY3" fmla="*/ 4067175 h 6858001"/>
                <a:gd name="connsiteX4" fmla="*/ 7009582 w 9965762"/>
                <a:gd name="connsiteY4" fmla="*/ 4279900 h 6858001"/>
                <a:gd name="connsiteX5" fmla="*/ 7012757 w 9965762"/>
                <a:gd name="connsiteY5" fmla="*/ 4708525 h 6858001"/>
                <a:gd name="connsiteX6" fmla="*/ 7384232 w 9965762"/>
                <a:gd name="connsiteY6" fmla="*/ 4495800 h 6858001"/>
                <a:gd name="connsiteX7" fmla="*/ 7386331 w 9965762"/>
                <a:gd name="connsiteY7" fmla="*/ 2781300 h 6858001"/>
                <a:gd name="connsiteX8" fmla="*/ 7386331 w 9965762"/>
                <a:gd name="connsiteY8" fmla="*/ 3209925 h 6858001"/>
                <a:gd name="connsiteX9" fmla="*/ 7754631 w 9965762"/>
                <a:gd name="connsiteY9" fmla="*/ 2997200 h 6858001"/>
                <a:gd name="connsiteX10" fmla="*/ 7751456 w 9965762"/>
                <a:gd name="connsiteY10" fmla="*/ 2143125 h 6858001"/>
                <a:gd name="connsiteX11" fmla="*/ 7383156 w 9965762"/>
                <a:gd name="connsiteY11" fmla="*/ 2359025 h 6858001"/>
                <a:gd name="connsiteX12" fmla="*/ 7751456 w 9965762"/>
                <a:gd name="connsiteY12" fmla="*/ 2571750 h 6858001"/>
                <a:gd name="connsiteX13" fmla="*/ 0 w 9965762"/>
                <a:gd name="connsiteY13" fmla="*/ 0 h 6858001"/>
                <a:gd name="connsiteX14" fmla="*/ 929970 w 9965762"/>
                <a:gd name="connsiteY14" fmla="*/ 0 h 6858001"/>
                <a:gd name="connsiteX15" fmla="*/ 2120900 w 9965762"/>
                <a:gd name="connsiteY15" fmla="*/ 0 h 6858001"/>
                <a:gd name="connsiteX16" fmla="*/ 8497581 w 9965762"/>
                <a:gd name="connsiteY16" fmla="*/ 0 h 6858001"/>
                <a:gd name="connsiteX17" fmla="*/ 8494406 w 9965762"/>
                <a:gd name="connsiteY17" fmla="*/ 428625 h 6858001"/>
                <a:gd name="connsiteX18" fmla="*/ 8865881 w 9965762"/>
                <a:gd name="connsiteY18" fmla="*/ 641350 h 6858001"/>
                <a:gd name="connsiteX19" fmla="*/ 8869056 w 9965762"/>
                <a:gd name="connsiteY19" fmla="*/ 212725 h 6858001"/>
                <a:gd name="connsiteX20" fmla="*/ 8497581 w 9965762"/>
                <a:gd name="connsiteY20" fmla="*/ 0 h 6858001"/>
                <a:gd name="connsiteX21" fmla="*/ 9965762 w 9965762"/>
                <a:gd name="connsiteY21" fmla="*/ 0 h 6858001"/>
                <a:gd name="connsiteX22" fmla="*/ 9239920 w 9965762"/>
                <a:gd name="connsiteY22" fmla="*/ 428860 h 6858001"/>
                <a:gd name="connsiteX23" fmla="*/ 9228507 w 9965762"/>
                <a:gd name="connsiteY23" fmla="*/ 1285122 h 6858001"/>
                <a:gd name="connsiteX24" fmla="*/ 8498502 w 9965762"/>
                <a:gd name="connsiteY24" fmla="*/ 1717306 h 6858001"/>
                <a:gd name="connsiteX25" fmla="*/ 8498030 w 9965762"/>
                <a:gd name="connsiteY25" fmla="*/ 2137585 h 6858001"/>
                <a:gd name="connsiteX26" fmla="*/ 8127804 w 9965762"/>
                <a:gd name="connsiteY26" fmla="*/ 2351048 h 6858001"/>
                <a:gd name="connsiteX27" fmla="*/ 8131128 w 9965762"/>
                <a:gd name="connsiteY27" fmla="*/ 3212071 h 6858001"/>
                <a:gd name="connsiteX28" fmla="*/ 8489447 w 9965762"/>
                <a:gd name="connsiteY28" fmla="*/ 3422681 h 6858001"/>
                <a:gd name="connsiteX29" fmla="*/ 8498502 w 9965762"/>
                <a:gd name="connsiteY29" fmla="*/ 3856304 h 6858001"/>
                <a:gd name="connsiteX30" fmla="*/ 8131129 w 9965762"/>
                <a:gd name="connsiteY30" fmla="*/ 4066445 h 6858001"/>
                <a:gd name="connsiteX31" fmla="*/ 8128748 w 9965762"/>
                <a:gd name="connsiteY31" fmla="*/ 4499572 h 6858001"/>
                <a:gd name="connsiteX32" fmla="*/ 9236593 w 9965762"/>
                <a:gd name="connsiteY32" fmla="*/ 5138078 h 6858001"/>
                <a:gd name="connsiteX33" fmla="*/ 9228507 w 9965762"/>
                <a:gd name="connsiteY33" fmla="*/ 5558356 h 6858001"/>
                <a:gd name="connsiteX34" fmla="*/ 8860639 w 9965762"/>
                <a:gd name="connsiteY34" fmla="*/ 5789456 h 6858001"/>
                <a:gd name="connsiteX35" fmla="*/ 8857787 w 9965762"/>
                <a:gd name="connsiteY35" fmla="*/ 6201624 h 6858001"/>
                <a:gd name="connsiteX36" fmla="*/ 8477541 w 9965762"/>
                <a:gd name="connsiteY36" fmla="*/ 6446067 h 6858001"/>
                <a:gd name="connsiteX37" fmla="*/ 8506551 w 9965762"/>
                <a:gd name="connsiteY37" fmla="*/ 6858001 h 6858001"/>
                <a:gd name="connsiteX38" fmla="*/ 2120900 w 9965762"/>
                <a:gd name="connsiteY38" fmla="*/ 6858001 h 6858001"/>
                <a:gd name="connsiteX39" fmla="*/ 929970 w 9965762"/>
                <a:gd name="connsiteY39" fmla="*/ 6858001 h 6858001"/>
                <a:gd name="connsiteX40" fmla="*/ 0 w 9965762"/>
                <a:gd name="connsiteY40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965762" h="6858001">
                  <a:moveTo>
                    <a:pt x="7385001" y="5774783"/>
                  </a:moveTo>
                  <a:lnTo>
                    <a:pt x="7016701" y="5993858"/>
                  </a:lnTo>
                  <a:lnTo>
                    <a:pt x="7385001" y="6206583"/>
                  </a:lnTo>
                  <a:close/>
                  <a:moveTo>
                    <a:pt x="7381057" y="4067175"/>
                  </a:moveTo>
                  <a:lnTo>
                    <a:pt x="7009582" y="4279900"/>
                  </a:lnTo>
                  <a:lnTo>
                    <a:pt x="7012757" y="4708525"/>
                  </a:lnTo>
                  <a:lnTo>
                    <a:pt x="7384232" y="4495800"/>
                  </a:lnTo>
                  <a:close/>
                  <a:moveTo>
                    <a:pt x="7386331" y="2781300"/>
                  </a:moveTo>
                  <a:lnTo>
                    <a:pt x="7386331" y="3209925"/>
                  </a:lnTo>
                  <a:lnTo>
                    <a:pt x="7754631" y="2997200"/>
                  </a:lnTo>
                  <a:close/>
                  <a:moveTo>
                    <a:pt x="7751456" y="2143125"/>
                  </a:moveTo>
                  <a:lnTo>
                    <a:pt x="7383156" y="2359025"/>
                  </a:lnTo>
                  <a:lnTo>
                    <a:pt x="7751456" y="2571750"/>
                  </a:lnTo>
                  <a:close/>
                  <a:moveTo>
                    <a:pt x="0" y="0"/>
                  </a:moveTo>
                  <a:lnTo>
                    <a:pt x="929970" y="0"/>
                  </a:lnTo>
                  <a:lnTo>
                    <a:pt x="2120900" y="0"/>
                  </a:lnTo>
                  <a:lnTo>
                    <a:pt x="8497581" y="0"/>
                  </a:lnTo>
                  <a:lnTo>
                    <a:pt x="8494406" y="428625"/>
                  </a:lnTo>
                  <a:lnTo>
                    <a:pt x="8865881" y="641350"/>
                  </a:lnTo>
                  <a:lnTo>
                    <a:pt x="8869056" y="212725"/>
                  </a:lnTo>
                  <a:lnTo>
                    <a:pt x="8497581" y="0"/>
                  </a:lnTo>
                  <a:lnTo>
                    <a:pt x="9965762" y="0"/>
                  </a:lnTo>
                  <a:lnTo>
                    <a:pt x="9239920" y="428860"/>
                  </a:lnTo>
                  <a:cubicBezTo>
                    <a:pt x="9239291" y="426943"/>
                    <a:pt x="9226754" y="1296564"/>
                    <a:pt x="9228507" y="1285122"/>
                  </a:cubicBezTo>
                  <a:lnTo>
                    <a:pt x="8498502" y="1717306"/>
                  </a:lnTo>
                  <a:cubicBezTo>
                    <a:pt x="8497551" y="1866130"/>
                    <a:pt x="8498981" y="1988761"/>
                    <a:pt x="8498030" y="2137585"/>
                  </a:cubicBezTo>
                  <a:lnTo>
                    <a:pt x="8127804" y="2351048"/>
                  </a:lnTo>
                  <a:lnTo>
                    <a:pt x="8131128" y="3212071"/>
                  </a:lnTo>
                  <a:lnTo>
                    <a:pt x="8489447" y="3422681"/>
                  </a:lnTo>
                  <a:cubicBezTo>
                    <a:pt x="8488496" y="3570397"/>
                    <a:pt x="8499453" y="3708588"/>
                    <a:pt x="8498502" y="3856304"/>
                  </a:cubicBezTo>
                  <a:lnTo>
                    <a:pt x="8131129" y="4066445"/>
                  </a:lnTo>
                  <a:cubicBezTo>
                    <a:pt x="8131923" y="4210821"/>
                    <a:pt x="8127954" y="4355196"/>
                    <a:pt x="8128748" y="4499572"/>
                  </a:cubicBezTo>
                  <a:lnTo>
                    <a:pt x="9236593" y="5138078"/>
                  </a:lnTo>
                  <a:cubicBezTo>
                    <a:pt x="9234691" y="5278965"/>
                    <a:pt x="9230409" y="5417469"/>
                    <a:pt x="9228507" y="5558356"/>
                  </a:cubicBezTo>
                  <a:lnTo>
                    <a:pt x="8860639" y="5789456"/>
                  </a:lnTo>
                  <a:cubicBezTo>
                    <a:pt x="8859688" y="5926845"/>
                    <a:pt x="8858738" y="6064235"/>
                    <a:pt x="8857787" y="6201624"/>
                  </a:cubicBezTo>
                  <a:lnTo>
                    <a:pt x="8477541" y="6446067"/>
                  </a:lnTo>
                  <a:lnTo>
                    <a:pt x="8506551" y="6858001"/>
                  </a:lnTo>
                  <a:lnTo>
                    <a:pt x="2120900" y="6858001"/>
                  </a:lnTo>
                  <a:lnTo>
                    <a:pt x="929970" y="6858001"/>
                  </a:lnTo>
                  <a:lnTo>
                    <a:pt x="0" y="6858001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auto">
            <a:xfrm flipH="1">
              <a:off x="8859274" y="3425825"/>
              <a:ext cx="371475" cy="857250"/>
            </a:xfrm>
            <a:custGeom>
              <a:avLst/>
              <a:gdLst>
                <a:gd name="T0" fmla="*/ 0 w 234"/>
                <a:gd name="T1" fmla="*/ 0 h 540"/>
                <a:gd name="T2" fmla="*/ 0 w 234"/>
                <a:gd name="T3" fmla="*/ 540 h 540"/>
                <a:gd name="T4" fmla="*/ 234 w 234"/>
                <a:gd name="T5" fmla="*/ 406 h 540"/>
                <a:gd name="T6" fmla="*/ 234 w 234"/>
                <a:gd name="T7" fmla="*/ 134 h 540"/>
                <a:gd name="T8" fmla="*/ 0 w 234"/>
                <a:gd name="T9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540">
                  <a:moveTo>
                    <a:pt x="0" y="0"/>
                  </a:moveTo>
                  <a:lnTo>
                    <a:pt x="0" y="540"/>
                  </a:lnTo>
                  <a:lnTo>
                    <a:pt x="234" y="406"/>
                  </a:lnTo>
                  <a:lnTo>
                    <a:pt x="234" y="13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149E7C"/>
                </a:gs>
                <a:gs pos="0">
                  <a:srgbClr val="1EAE7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5" name="Freeform 31"/>
            <p:cNvSpPr>
              <a:spLocks/>
            </p:cNvSpPr>
            <p:nvPr userDrawn="1"/>
          </p:nvSpPr>
          <p:spPr bwMode="auto">
            <a:xfrm flipH="1">
              <a:off x="7382899" y="3425825"/>
              <a:ext cx="742950" cy="644525"/>
            </a:xfrm>
            <a:custGeom>
              <a:avLst/>
              <a:gdLst>
                <a:gd name="T0" fmla="*/ 2 w 468"/>
                <a:gd name="T1" fmla="*/ 406 h 406"/>
                <a:gd name="T2" fmla="*/ 468 w 468"/>
                <a:gd name="T3" fmla="*/ 134 h 406"/>
                <a:gd name="T4" fmla="*/ 234 w 468"/>
                <a:gd name="T5" fmla="*/ 0 h 406"/>
                <a:gd name="T6" fmla="*/ 0 w 468"/>
                <a:gd name="T7" fmla="*/ 136 h 406"/>
                <a:gd name="T8" fmla="*/ 2 w 468"/>
                <a:gd name="T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406">
                  <a:moveTo>
                    <a:pt x="2" y="406"/>
                  </a:moveTo>
                  <a:lnTo>
                    <a:pt x="468" y="134"/>
                  </a:lnTo>
                  <a:lnTo>
                    <a:pt x="234" y="0"/>
                  </a:lnTo>
                  <a:lnTo>
                    <a:pt x="0" y="136"/>
                  </a:lnTo>
                  <a:lnTo>
                    <a:pt x="2" y="406"/>
                  </a:lnTo>
                  <a:close/>
                </a:path>
              </a:pathLst>
            </a:custGeom>
            <a:gradFill>
              <a:gsLst>
                <a:gs pos="100000">
                  <a:srgbClr val="EE6134"/>
                </a:gs>
                <a:gs pos="0">
                  <a:srgbClr val="FF6E35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6" name="Freeform 32"/>
            <p:cNvSpPr>
              <a:spLocks/>
            </p:cNvSpPr>
            <p:nvPr userDrawn="1"/>
          </p:nvSpPr>
          <p:spPr bwMode="auto">
            <a:xfrm flipH="1">
              <a:off x="9968937" y="4067175"/>
              <a:ext cx="368300" cy="428625"/>
            </a:xfrm>
            <a:custGeom>
              <a:avLst/>
              <a:gdLst>
                <a:gd name="T0" fmla="*/ 232 w 232"/>
                <a:gd name="T1" fmla="*/ 136 h 270"/>
                <a:gd name="T2" fmla="*/ 0 w 232"/>
                <a:gd name="T3" fmla="*/ 270 h 270"/>
                <a:gd name="T4" fmla="*/ 0 w 232"/>
                <a:gd name="T5" fmla="*/ 0 h 270"/>
                <a:gd name="T6" fmla="*/ 232 w 232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232" y="136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232" y="136"/>
                  </a:lnTo>
                  <a:close/>
                </a:path>
              </a:pathLst>
            </a:custGeom>
            <a:gradFill>
              <a:gsLst>
                <a:gs pos="100000">
                  <a:srgbClr val="4E498C"/>
                </a:gs>
                <a:gs pos="0">
                  <a:srgbClr val="544D93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19" name="Freeform 33"/>
            <p:cNvSpPr>
              <a:spLocks/>
            </p:cNvSpPr>
            <p:nvPr userDrawn="1"/>
          </p:nvSpPr>
          <p:spPr bwMode="auto">
            <a:xfrm flipH="1">
              <a:off x="9230750" y="4708525"/>
              <a:ext cx="366712" cy="431800"/>
            </a:xfrm>
            <a:custGeom>
              <a:avLst/>
              <a:gdLst>
                <a:gd name="T0" fmla="*/ 0 w 231"/>
                <a:gd name="T1" fmla="*/ 136 h 272"/>
                <a:gd name="T2" fmla="*/ 231 w 231"/>
                <a:gd name="T3" fmla="*/ 0 h 272"/>
                <a:gd name="T4" fmla="*/ 231 w 231"/>
                <a:gd name="T5" fmla="*/ 272 h 272"/>
                <a:gd name="T6" fmla="*/ 0 w 231"/>
                <a:gd name="T7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272">
                  <a:moveTo>
                    <a:pt x="0" y="136"/>
                  </a:moveTo>
                  <a:lnTo>
                    <a:pt x="231" y="0"/>
                  </a:lnTo>
                  <a:lnTo>
                    <a:pt x="231" y="272"/>
                  </a:lnTo>
                  <a:lnTo>
                    <a:pt x="0" y="136"/>
                  </a:lnTo>
                  <a:close/>
                </a:path>
              </a:pathLst>
            </a:custGeom>
            <a:gradFill>
              <a:gsLst>
                <a:gs pos="100000">
                  <a:srgbClr val="A64D40"/>
                </a:gs>
                <a:gs pos="0">
                  <a:srgbClr val="BB533D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0" name="Freeform 34"/>
            <p:cNvSpPr>
              <a:spLocks/>
            </p:cNvSpPr>
            <p:nvPr userDrawn="1"/>
          </p:nvSpPr>
          <p:spPr bwMode="auto">
            <a:xfrm flipH="1">
              <a:off x="7751199" y="1282700"/>
              <a:ext cx="371475" cy="428625"/>
            </a:xfrm>
            <a:custGeom>
              <a:avLst/>
              <a:gdLst>
                <a:gd name="T0" fmla="*/ 0 w 234"/>
                <a:gd name="T1" fmla="*/ 134 h 270"/>
                <a:gd name="T2" fmla="*/ 234 w 234"/>
                <a:gd name="T3" fmla="*/ 0 h 270"/>
                <a:gd name="T4" fmla="*/ 234 w 234"/>
                <a:gd name="T5" fmla="*/ 270 h 270"/>
                <a:gd name="T6" fmla="*/ 0 w 234"/>
                <a:gd name="T7" fmla="*/ 1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0">
                  <a:moveTo>
                    <a:pt x="0" y="134"/>
                  </a:moveTo>
                  <a:lnTo>
                    <a:pt x="234" y="0"/>
                  </a:lnTo>
                  <a:lnTo>
                    <a:pt x="234" y="270"/>
                  </a:lnTo>
                  <a:lnTo>
                    <a:pt x="0" y="134"/>
                  </a:lnTo>
                  <a:close/>
                </a:path>
              </a:pathLst>
            </a:custGeom>
            <a:gradFill>
              <a:gsLst>
                <a:gs pos="100000">
                  <a:srgbClr val="96CC65"/>
                </a:gs>
                <a:gs pos="0">
                  <a:srgbClr val="87C22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1" name="Freeform 35"/>
            <p:cNvSpPr>
              <a:spLocks/>
            </p:cNvSpPr>
            <p:nvPr userDrawn="1"/>
          </p:nvSpPr>
          <p:spPr bwMode="auto">
            <a:xfrm flipH="1">
              <a:off x="8494149" y="1924050"/>
              <a:ext cx="368300" cy="428625"/>
            </a:xfrm>
            <a:custGeom>
              <a:avLst/>
              <a:gdLst>
                <a:gd name="T0" fmla="*/ 232 w 232"/>
                <a:gd name="T1" fmla="*/ 136 h 270"/>
                <a:gd name="T2" fmla="*/ 0 w 232"/>
                <a:gd name="T3" fmla="*/ 270 h 270"/>
                <a:gd name="T4" fmla="*/ 0 w 232"/>
                <a:gd name="T5" fmla="*/ 0 h 270"/>
                <a:gd name="T6" fmla="*/ 232 w 232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232" y="136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232" y="136"/>
                  </a:lnTo>
                  <a:close/>
                </a:path>
              </a:pathLst>
            </a:custGeom>
            <a:gradFill>
              <a:gsLst>
                <a:gs pos="100000">
                  <a:srgbClr val="FF9441"/>
                </a:gs>
                <a:gs pos="0">
                  <a:srgbClr val="FE954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2" name="Freeform 36"/>
            <p:cNvSpPr>
              <a:spLocks/>
            </p:cNvSpPr>
            <p:nvPr userDrawn="1"/>
          </p:nvSpPr>
          <p:spPr bwMode="auto">
            <a:xfrm flipH="1">
              <a:off x="9597462" y="5137150"/>
              <a:ext cx="371475" cy="428625"/>
            </a:xfrm>
            <a:custGeom>
              <a:avLst/>
              <a:gdLst>
                <a:gd name="T0" fmla="*/ 234 w 234"/>
                <a:gd name="T1" fmla="*/ 136 h 270"/>
                <a:gd name="T2" fmla="*/ 0 w 234"/>
                <a:gd name="T3" fmla="*/ 270 h 270"/>
                <a:gd name="T4" fmla="*/ 0 w 234"/>
                <a:gd name="T5" fmla="*/ 0 h 270"/>
                <a:gd name="T6" fmla="*/ 234 w 234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0">
                  <a:moveTo>
                    <a:pt x="234" y="136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234" y="136"/>
                  </a:lnTo>
                  <a:close/>
                </a:path>
              </a:pathLst>
            </a:custGeom>
            <a:gradFill>
              <a:gsLst>
                <a:gs pos="100000">
                  <a:srgbClr val="1E6B74"/>
                </a:gs>
                <a:gs pos="0">
                  <a:srgbClr val="1B737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3" name="Freeform 37"/>
            <p:cNvSpPr>
              <a:spLocks/>
            </p:cNvSpPr>
            <p:nvPr userDrawn="1"/>
          </p:nvSpPr>
          <p:spPr bwMode="auto">
            <a:xfrm flipH="1">
              <a:off x="7386074" y="4708525"/>
              <a:ext cx="368300" cy="431800"/>
            </a:xfrm>
            <a:custGeom>
              <a:avLst/>
              <a:gdLst>
                <a:gd name="T0" fmla="*/ 232 w 232"/>
                <a:gd name="T1" fmla="*/ 138 h 272"/>
                <a:gd name="T2" fmla="*/ 0 w 232"/>
                <a:gd name="T3" fmla="*/ 272 h 272"/>
                <a:gd name="T4" fmla="*/ 0 w 232"/>
                <a:gd name="T5" fmla="*/ 0 h 272"/>
                <a:gd name="T6" fmla="*/ 232 w 232"/>
                <a:gd name="T7" fmla="*/ 13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2">
                  <a:moveTo>
                    <a:pt x="232" y="138"/>
                  </a:moveTo>
                  <a:lnTo>
                    <a:pt x="0" y="272"/>
                  </a:lnTo>
                  <a:lnTo>
                    <a:pt x="0" y="0"/>
                  </a:lnTo>
                  <a:lnTo>
                    <a:pt x="232" y="138"/>
                  </a:lnTo>
                  <a:close/>
                </a:path>
              </a:pathLst>
            </a:custGeom>
            <a:gradFill>
              <a:gsLst>
                <a:gs pos="100000">
                  <a:srgbClr val="484484"/>
                </a:gs>
                <a:gs pos="0">
                  <a:srgbClr val="4F498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4" name="Freeform 38"/>
            <p:cNvSpPr>
              <a:spLocks/>
            </p:cNvSpPr>
            <p:nvPr userDrawn="1"/>
          </p:nvSpPr>
          <p:spPr bwMode="auto">
            <a:xfrm flipH="1">
              <a:off x="9597462" y="6419850"/>
              <a:ext cx="371475" cy="428625"/>
            </a:xfrm>
            <a:custGeom>
              <a:avLst/>
              <a:gdLst>
                <a:gd name="T0" fmla="*/ 234 w 234"/>
                <a:gd name="T1" fmla="*/ 136 h 270"/>
                <a:gd name="T2" fmla="*/ 0 w 234"/>
                <a:gd name="T3" fmla="*/ 270 h 270"/>
                <a:gd name="T4" fmla="*/ 0 w 234"/>
                <a:gd name="T5" fmla="*/ 0 h 270"/>
                <a:gd name="T6" fmla="*/ 234 w 234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0">
                  <a:moveTo>
                    <a:pt x="234" y="136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234" y="136"/>
                  </a:lnTo>
                  <a:close/>
                </a:path>
              </a:pathLst>
            </a:custGeom>
            <a:gradFill>
              <a:gsLst>
                <a:gs pos="100000">
                  <a:srgbClr val="353055"/>
                </a:gs>
                <a:gs pos="0">
                  <a:srgbClr val="48324D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5" name="Freeform 39"/>
            <p:cNvSpPr>
              <a:spLocks/>
            </p:cNvSpPr>
            <p:nvPr userDrawn="1"/>
          </p:nvSpPr>
          <p:spPr bwMode="auto">
            <a:xfrm flipH="1">
              <a:off x="7754374" y="6207125"/>
              <a:ext cx="368300" cy="428625"/>
            </a:xfrm>
            <a:custGeom>
              <a:avLst/>
              <a:gdLst>
                <a:gd name="T0" fmla="*/ 232 w 232"/>
                <a:gd name="T1" fmla="*/ 136 h 270"/>
                <a:gd name="T2" fmla="*/ 0 w 232"/>
                <a:gd name="T3" fmla="*/ 270 h 270"/>
                <a:gd name="T4" fmla="*/ 0 w 232"/>
                <a:gd name="T5" fmla="*/ 0 h 270"/>
                <a:gd name="T6" fmla="*/ 232 w 232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70">
                  <a:moveTo>
                    <a:pt x="232" y="136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232" y="136"/>
                  </a:lnTo>
                  <a:close/>
                </a:path>
              </a:pathLst>
            </a:custGeom>
            <a:gradFill>
              <a:gsLst>
                <a:gs pos="100000">
                  <a:srgbClr val="2C2F5E"/>
                </a:gs>
                <a:gs pos="0">
                  <a:srgbClr val="303265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6" name="Freeform 40"/>
            <p:cNvSpPr>
              <a:spLocks/>
            </p:cNvSpPr>
            <p:nvPr userDrawn="1"/>
          </p:nvSpPr>
          <p:spPr bwMode="auto">
            <a:xfrm flipH="1">
              <a:off x="7751199" y="5565775"/>
              <a:ext cx="371475" cy="428625"/>
            </a:xfrm>
            <a:custGeom>
              <a:avLst/>
              <a:gdLst>
                <a:gd name="T0" fmla="*/ 0 w 234"/>
                <a:gd name="T1" fmla="*/ 136 h 270"/>
                <a:gd name="T2" fmla="*/ 234 w 234"/>
                <a:gd name="T3" fmla="*/ 270 h 270"/>
                <a:gd name="T4" fmla="*/ 234 w 234"/>
                <a:gd name="T5" fmla="*/ 0 h 270"/>
                <a:gd name="T6" fmla="*/ 0 w 234"/>
                <a:gd name="T7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270">
                  <a:moveTo>
                    <a:pt x="0" y="136"/>
                  </a:moveTo>
                  <a:lnTo>
                    <a:pt x="234" y="270"/>
                  </a:lnTo>
                  <a:lnTo>
                    <a:pt x="234" y="0"/>
                  </a:lnTo>
                  <a:lnTo>
                    <a:pt x="0" y="136"/>
                  </a:lnTo>
                  <a:close/>
                </a:path>
              </a:pathLst>
            </a:custGeom>
            <a:gradFill>
              <a:gsLst>
                <a:gs pos="100000">
                  <a:srgbClr val="7C535D"/>
                </a:gs>
                <a:gs pos="0">
                  <a:srgbClr val="824345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7" name="Freeform 41"/>
            <p:cNvSpPr>
              <a:spLocks/>
            </p:cNvSpPr>
            <p:nvPr userDrawn="1"/>
          </p:nvSpPr>
          <p:spPr bwMode="auto">
            <a:xfrm flipH="1">
              <a:off x="8862449" y="5994400"/>
              <a:ext cx="374650" cy="641350"/>
            </a:xfrm>
            <a:custGeom>
              <a:avLst/>
              <a:gdLst>
                <a:gd name="T0" fmla="*/ 2 w 236"/>
                <a:gd name="T1" fmla="*/ 0 h 404"/>
                <a:gd name="T2" fmla="*/ 0 w 236"/>
                <a:gd name="T3" fmla="*/ 270 h 404"/>
                <a:gd name="T4" fmla="*/ 234 w 236"/>
                <a:gd name="T5" fmla="*/ 404 h 404"/>
                <a:gd name="T6" fmla="*/ 236 w 236"/>
                <a:gd name="T7" fmla="*/ 134 h 404"/>
                <a:gd name="T8" fmla="*/ 2 w 236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404">
                  <a:moveTo>
                    <a:pt x="2" y="0"/>
                  </a:moveTo>
                  <a:lnTo>
                    <a:pt x="0" y="270"/>
                  </a:lnTo>
                  <a:lnTo>
                    <a:pt x="234" y="404"/>
                  </a:lnTo>
                  <a:lnTo>
                    <a:pt x="236" y="134"/>
                  </a:lnTo>
                  <a:lnTo>
                    <a:pt x="2" y="0"/>
                  </a:lnTo>
                  <a:close/>
                </a:path>
              </a:pathLst>
            </a:custGeom>
            <a:gradFill>
              <a:gsLst>
                <a:gs pos="100000">
                  <a:srgbClr val="2C2F5E"/>
                </a:gs>
                <a:gs pos="0">
                  <a:srgbClr val="36366B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8" name="Freeform 42"/>
            <p:cNvSpPr>
              <a:spLocks/>
            </p:cNvSpPr>
            <p:nvPr userDrawn="1"/>
          </p:nvSpPr>
          <p:spPr bwMode="auto">
            <a:xfrm flipH="1">
              <a:off x="8119499" y="854075"/>
              <a:ext cx="739775" cy="428625"/>
            </a:xfrm>
            <a:custGeom>
              <a:avLst/>
              <a:gdLst>
                <a:gd name="T0" fmla="*/ 466 w 466"/>
                <a:gd name="T1" fmla="*/ 136 h 270"/>
                <a:gd name="T2" fmla="*/ 232 w 466"/>
                <a:gd name="T3" fmla="*/ 270 h 270"/>
                <a:gd name="T4" fmla="*/ 0 w 466"/>
                <a:gd name="T5" fmla="*/ 136 h 270"/>
                <a:gd name="T6" fmla="*/ 232 w 466"/>
                <a:gd name="T7" fmla="*/ 0 h 270"/>
                <a:gd name="T8" fmla="*/ 466 w 466"/>
                <a:gd name="T9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6" h="270">
                  <a:moveTo>
                    <a:pt x="466" y="136"/>
                  </a:moveTo>
                  <a:lnTo>
                    <a:pt x="232" y="270"/>
                  </a:lnTo>
                  <a:lnTo>
                    <a:pt x="0" y="136"/>
                  </a:lnTo>
                  <a:lnTo>
                    <a:pt x="232" y="0"/>
                  </a:lnTo>
                  <a:lnTo>
                    <a:pt x="466" y="136"/>
                  </a:lnTo>
                  <a:close/>
                </a:path>
              </a:pathLst>
            </a:custGeom>
            <a:gradFill>
              <a:gsLst>
                <a:gs pos="100000">
                  <a:srgbClr val="60AEEA"/>
                </a:gs>
                <a:gs pos="0">
                  <a:srgbClr val="65BDF4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29" name="Freeform 43"/>
            <p:cNvSpPr>
              <a:spLocks/>
            </p:cNvSpPr>
            <p:nvPr userDrawn="1"/>
          </p:nvSpPr>
          <p:spPr bwMode="auto">
            <a:xfrm flipH="1">
              <a:off x="8119499" y="5137150"/>
              <a:ext cx="739775" cy="428625"/>
            </a:xfrm>
            <a:custGeom>
              <a:avLst/>
              <a:gdLst>
                <a:gd name="T0" fmla="*/ 466 w 466"/>
                <a:gd name="T1" fmla="*/ 134 h 270"/>
                <a:gd name="T2" fmla="*/ 232 w 466"/>
                <a:gd name="T3" fmla="*/ 270 h 270"/>
                <a:gd name="T4" fmla="*/ 0 w 466"/>
                <a:gd name="T5" fmla="*/ 134 h 270"/>
                <a:gd name="T6" fmla="*/ 232 w 466"/>
                <a:gd name="T7" fmla="*/ 0 h 270"/>
                <a:gd name="T8" fmla="*/ 466 w 466"/>
                <a:gd name="T9" fmla="*/ 1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6" h="270">
                  <a:moveTo>
                    <a:pt x="466" y="134"/>
                  </a:moveTo>
                  <a:lnTo>
                    <a:pt x="232" y="270"/>
                  </a:lnTo>
                  <a:lnTo>
                    <a:pt x="0" y="134"/>
                  </a:lnTo>
                  <a:lnTo>
                    <a:pt x="232" y="0"/>
                  </a:lnTo>
                  <a:lnTo>
                    <a:pt x="466" y="134"/>
                  </a:lnTo>
                  <a:close/>
                </a:path>
              </a:pathLst>
            </a:custGeom>
            <a:gradFill>
              <a:gsLst>
                <a:gs pos="100000">
                  <a:srgbClr val="1D6871"/>
                </a:gs>
                <a:gs pos="0">
                  <a:srgbClr val="1B7473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  <p:sp>
          <p:nvSpPr>
            <p:cNvPr id="30" name="Freeform 44"/>
            <p:cNvSpPr>
              <a:spLocks/>
            </p:cNvSpPr>
            <p:nvPr userDrawn="1"/>
          </p:nvSpPr>
          <p:spPr bwMode="auto">
            <a:xfrm flipH="1">
              <a:off x="9600637" y="425450"/>
              <a:ext cx="365125" cy="1069975"/>
            </a:xfrm>
            <a:custGeom>
              <a:avLst/>
              <a:gdLst>
                <a:gd name="T0" fmla="*/ 230 w 230"/>
                <a:gd name="T1" fmla="*/ 674 h 674"/>
                <a:gd name="T2" fmla="*/ 0 w 230"/>
                <a:gd name="T3" fmla="*/ 540 h 674"/>
                <a:gd name="T4" fmla="*/ 0 w 230"/>
                <a:gd name="T5" fmla="*/ 0 h 674"/>
                <a:gd name="T6" fmla="*/ 230 w 230"/>
                <a:gd name="T7" fmla="*/ 136 h 674"/>
                <a:gd name="T8" fmla="*/ 230 w 230"/>
                <a:gd name="T9" fmla="*/ 674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674">
                  <a:moveTo>
                    <a:pt x="230" y="674"/>
                  </a:moveTo>
                  <a:lnTo>
                    <a:pt x="0" y="540"/>
                  </a:lnTo>
                  <a:lnTo>
                    <a:pt x="0" y="0"/>
                  </a:lnTo>
                  <a:lnTo>
                    <a:pt x="230" y="136"/>
                  </a:lnTo>
                  <a:lnTo>
                    <a:pt x="230" y="674"/>
                  </a:lnTo>
                  <a:close/>
                </a:path>
              </a:pathLst>
            </a:custGeom>
            <a:gradFill>
              <a:gsLst>
                <a:gs pos="100000">
                  <a:srgbClr val="FFAC49"/>
                </a:gs>
                <a:gs pos="0">
                  <a:srgbClr val="FDBD4D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1BBA778-64E4-9C4C-8806-1A8C377A9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98711" y="1496859"/>
            <a:ext cx="3796431" cy="2674307"/>
          </a:xfrm>
        </p:spPr>
        <p:txBody>
          <a:bodyPr lIns="0" tIns="0" rIns="0" bIns="0" anchor="b">
            <a:noAutofit/>
          </a:bodyPr>
          <a:lstStyle>
            <a:lvl1pPr>
              <a:defRPr sz="28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Slide title goes here</a:t>
            </a:r>
            <a:endParaRPr lang="ar-S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1C9796-CB07-194B-B62D-8AC12B657E1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98711" y="4280981"/>
            <a:ext cx="1679013" cy="168827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 b="0" i="0">
                <a:solidFill>
                  <a:srgbClr val="8D8FA4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title goes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40D795-3B71-D04C-A435-56E00A183FAE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016129" y="4280981"/>
            <a:ext cx="1679013" cy="168827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 b="0" i="0">
                <a:solidFill>
                  <a:srgbClr val="8D8FA4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title goes her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79161" y="6461969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sp>
        <p:nvSpPr>
          <p:cNvPr id="31" name="Picture Placeholder 74"/>
          <p:cNvSpPr>
            <a:spLocks noGrp="1"/>
          </p:cNvSpPr>
          <p:nvPr>
            <p:ph type="pic" sz="quarter" idx="12"/>
          </p:nvPr>
        </p:nvSpPr>
        <p:spPr>
          <a:xfrm flipH="1">
            <a:off x="0" y="0"/>
            <a:ext cx="5185850" cy="6858000"/>
          </a:xfrm>
          <a:custGeom>
            <a:avLst/>
            <a:gdLst>
              <a:gd name="connsiteX0" fmla="*/ 2956949 w 5185850"/>
              <a:gd name="connsiteY0" fmla="*/ 6426585 h 6858000"/>
              <a:gd name="connsiteX1" fmla="*/ 2597149 w 5185850"/>
              <a:gd name="connsiteY1" fmla="*/ 6635701 h 6858000"/>
              <a:gd name="connsiteX2" fmla="*/ 2956949 w 5185850"/>
              <a:gd name="connsiteY2" fmla="*/ 6841741 h 6858000"/>
              <a:gd name="connsiteX3" fmla="*/ 2221987 w 5185850"/>
              <a:gd name="connsiteY3" fmla="*/ 6004478 h 6858000"/>
              <a:gd name="connsiteX4" fmla="*/ 1862186 w 5185850"/>
              <a:gd name="connsiteY4" fmla="*/ 6210518 h 6858000"/>
              <a:gd name="connsiteX5" fmla="*/ 1865261 w 5185850"/>
              <a:gd name="connsiteY5" fmla="*/ 6625672 h 6858000"/>
              <a:gd name="connsiteX6" fmla="*/ 2225062 w 5185850"/>
              <a:gd name="connsiteY6" fmla="*/ 6419633 h 6858000"/>
              <a:gd name="connsiteX7" fmla="*/ 375419 w 5185850"/>
              <a:gd name="connsiteY7" fmla="*/ 5774782 h 6858000"/>
              <a:gd name="connsiteX8" fmla="*/ 375419 w 5185850"/>
              <a:gd name="connsiteY8" fmla="*/ 6206582 h 6858000"/>
              <a:gd name="connsiteX9" fmla="*/ 7119 w 5185850"/>
              <a:gd name="connsiteY9" fmla="*/ 5993857 h 6858000"/>
              <a:gd name="connsiteX10" fmla="*/ 2956949 w 5185850"/>
              <a:gd name="connsiteY10" fmla="*/ 5143885 h 6858000"/>
              <a:gd name="connsiteX11" fmla="*/ 2597149 w 5185850"/>
              <a:gd name="connsiteY11" fmla="*/ 5353001 h 6858000"/>
              <a:gd name="connsiteX12" fmla="*/ 2956949 w 5185850"/>
              <a:gd name="connsiteY12" fmla="*/ 5559041 h 6858000"/>
              <a:gd name="connsiteX13" fmla="*/ 2230362 w 5185850"/>
              <a:gd name="connsiteY13" fmla="*/ 4715310 h 6858000"/>
              <a:gd name="connsiteX14" fmla="*/ 2230362 w 5185850"/>
              <a:gd name="connsiteY14" fmla="*/ 5133540 h 6858000"/>
              <a:gd name="connsiteX15" fmla="*/ 2585550 w 5185850"/>
              <a:gd name="connsiteY15" fmla="*/ 4924425 h 6858000"/>
              <a:gd name="connsiteX16" fmla="*/ 3325300 w 5185850"/>
              <a:gd name="connsiteY16" fmla="*/ 4073910 h 6858000"/>
              <a:gd name="connsiteX17" fmla="*/ 2968574 w 5185850"/>
              <a:gd name="connsiteY17" fmla="*/ 4283026 h 6858000"/>
              <a:gd name="connsiteX18" fmla="*/ 3325300 w 5185850"/>
              <a:gd name="connsiteY18" fmla="*/ 4489066 h 6858000"/>
              <a:gd name="connsiteX19" fmla="*/ 371475 w 5185850"/>
              <a:gd name="connsiteY19" fmla="*/ 4067174 h 6858000"/>
              <a:gd name="connsiteX20" fmla="*/ 374650 w 5185850"/>
              <a:gd name="connsiteY20" fmla="*/ 4495799 h 6858000"/>
              <a:gd name="connsiteX21" fmla="*/ 3175 w 5185850"/>
              <a:gd name="connsiteY21" fmla="*/ 4708524 h 6858000"/>
              <a:gd name="connsiteX22" fmla="*/ 0 w 5185850"/>
              <a:gd name="connsiteY22" fmla="*/ 4279899 h 6858000"/>
              <a:gd name="connsiteX23" fmla="*/ 2218761 w 5185850"/>
              <a:gd name="connsiteY23" fmla="*/ 3439295 h 6858000"/>
              <a:gd name="connsiteX24" fmla="*/ 1858961 w 5185850"/>
              <a:gd name="connsiteY24" fmla="*/ 3645335 h 6858000"/>
              <a:gd name="connsiteX25" fmla="*/ 1858961 w 5185850"/>
              <a:gd name="connsiteY25" fmla="*/ 4063565 h 6858000"/>
              <a:gd name="connsiteX26" fmla="*/ 2218761 w 5185850"/>
              <a:gd name="connsiteY26" fmla="*/ 4269605 h 6858000"/>
              <a:gd name="connsiteX27" fmla="*/ 376749 w 5185850"/>
              <a:gd name="connsiteY27" fmla="*/ 2781299 h 6858000"/>
              <a:gd name="connsiteX28" fmla="*/ 745049 w 5185850"/>
              <a:gd name="connsiteY28" fmla="*/ 2997199 h 6858000"/>
              <a:gd name="connsiteX29" fmla="*/ 376749 w 5185850"/>
              <a:gd name="connsiteY29" fmla="*/ 3209924 h 6858000"/>
              <a:gd name="connsiteX30" fmla="*/ 741874 w 5185850"/>
              <a:gd name="connsiteY30" fmla="*/ 2143124 h 6858000"/>
              <a:gd name="connsiteX31" fmla="*/ 741874 w 5185850"/>
              <a:gd name="connsiteY31" fmla="*/ 2571749 h 6858000"/>
              <a:gd name="connsiteX32" fmla="*/ 373574 w 5185850"/>
              <a:gd name="connsiteY32" fmla="*/ 2359024 h 6858000"/>
              <a:gd name="connsiteX33" fmla="*/ 1850512 w 5185850"/>
              <a:gd name="connsiteY33" fmla="*/ 1930786 h 6858000"/>
              <a:gd name="connsiteX34" fmla="*/ 1493786 w 5185850"/>
              <a:gd name="connsiteY34" fmla="*/ 2139901 h 6858000"/>
              <a:gd name="connsiteX35" fmla="*/ 1850512 w 5185850"/>
              <a:gd name="connsiteY35" fmla="*/ 2345941 h 6858000"/>
              <a:gd name="connsiteX36" fmla="*/ 2953874 w 5185850"/>
              <a:gd name="connsiteY36" fmla="*/ 442263 h 6858000"/>
              <a:gd name="connsiteX37" fmla="*/ 2600224 w 5185850"/>
              <a:gd name="connsiteY37" fmla="*/ 651379 h 6858000"/>
              <a:gd name="connsiteX38" fmla="*/ 2600224 w 5185850"/>
              <a:gd name="connsiteY38" fmla="*/ 1478615 h 6858000"/>
              <a:gd name="connsiteX39" fmla="*/ 2953874 w 5185850"/>
              <a:gd name="connsiteY39" fmla="*/ 1272575 h 6858000"/>
              <a:gd name="connsiteX40" fmla="*/ 2956178 w 5185850"/>
              <a:gd name="connsiteY40" fmla="*/ 0 h 6858000"/>
              <a:gd name="connsiteX41" fmla="*/ 5185850 w 5185850"/>
              <a:gd name="connsiteY41" fmla="*/ 0 h 6858000"/>
              <a:gd name="connsiteX42" fmla="*/ 5185850 w 5185850"/>
              <a:gd name="connsiteY42" fmla="*/ 6858000 h 6858000"/>
              <a:gd name="connsiteX43" fmla="*/ 1496969 w 5185850"/>
              <a:gd name="connsiteY43" fmla="*/ 6858000 h 6858000"/>
              <a:gd name="connsiteX44" fmla="*/ 1467959 w 5185850"/>
              <a:gd name="connsiteY44" fmla="*/ 6446066 h 6858000"/>
              <a:gd name="connsiteX45" fmla="*/ 1848205 w 5185850"/>
              <a:gd name="connsiteY45" fmla="*/ 6201623 h 6858000"/>
              <a:gd name="connsiteX46" fmla="*/ 1851057 w 5185850"/>
              <a:gd name="connsiteY46" fmla="*/ 5789455 h 6858000"/>
              <a:gd name="connsiteX47" fmla="*/ 2218925 w 5185850"/>
              <a:gd name="connsiteY47" fmla="*/ 5558355 h 6858000"/>
              <a:gd name="connsiteX48" fmla="*/ 2227011 w 5185850"/>
              <a:gd name="connsiteY48" fmla="*/ 5138077 h 6858000"/>
              <a:gd name="connsiteX49" fmla="*/ 1119166 w 5185850"/>
              <a:gd name="connsiteY49" fmla="*/ 4499571 h 6858000"/>
              <a:gd name="connsiteX50" fmla="*/ 1121547 w 5185850"/>
              <a:gd name="connsiteY50" fmla="*/ 4066444 h 6858000"/>
              <a:gd name="connsiteX51" fmla="*/ 1488920 w 5185850"/>
              <a:gd name="connsiteY51" fmla="*/ 3856303 h 6858000"/>
              <a:gd name="connsiteX52" fmla="*/ 1479865 w 5185850"/>
              <a:gd name="connsiteY52" fmla="*/ 3422680 h 6858000"/>
              <a:gd name="connsiteX53" fmla="*/ 1121546 w 5185850"/>
              <a:gd name="connsiteY53" fmla="*/ 3212070 h 6858000"/>
              <a:gd name="connsiteX54" fmla="*/ 1118222 w 5185850"/>
              <a:gd name="connsiteY54" fmla="*/ 2351047 h 6858000"/>
              <a:gd name="connsiteX55" fmla="*/ 1488448 w 5185850"/>
              <a:gd name="connsiteY55" fmla="*/ 2137584 h 6858000"/>
              <a:gd name="connsiteX56" fmla="*/ 1488920 w 5185850"/>
              <a:gd name="connsiteY56" fmla="*/ 1717305 h 6858000"/>
              <a:gd name="connsiteX57" fmla="*/ 2218925 w 5185850"/>
              <a:gd name="connsiteY57" fmla="*/ 1285121 h 6858000"/>
              <a:gd name="connsiteX58" fmla="*/ 2230338 w 5185850"/>
              <a:gd name="connsiteY58" fmla="*/ 428859 h 6858000"/>
              <a:gd name="connsiteX59" fmla="*/ 1487999 w 5185850"/>
              <a:gd name="connsiteY59" fmla="*/ 0 h 6858000"/>
              <a:gd name="connsiteX60" fmla="*/ 1488001 w 5185850"/>
              <a:gd name="connsiteY60" fmla="*/ 0 h 6858000"/>
              <a:gd name="connsiteX61" fmla="*/ 1859474 w 5185850"/>
              <a:gd name="connsiteY61" fmla="*/ 212724 h 6858000"/>
              <a:gd name="connsiteX62" fmla="*/ 1856299 w 5185850"/>
              <a:gd name="connsiteY62" fmla="*/ 641349 h 6858000"/>
              <a:gd name="connsiteX63" fmla="*/ 1484824 w 5185850"/>
              <a:gd name="connsiteY63" fmla="*/ 4286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185850" h="6858000">
                <a:moveTo>
                  <a:pt x="2956949" y="6426585"/>
                </a:moveTo>
                <a:lnTo>
                  <a:pt x="2597149" y="6635701"/>
                </a:lnTo>
                <a:lnTo>
                  <a:pt x="2956949" y="6841741"/>
                </a:lnTo>
                <a:close/>
                <a:moveTo>
                  <a:pt x="2221987" y="6004478"/>
                </a:moveTo>
                <a:lnTo>
                  <a:pt x="1862186" y="6210518"/>
                </a:lnTo>
                <a:lnTo>
                  <a:pt x="1865261" y="6625672"/>
                </a:lnTo>
                <a:lnTo>
                  <a:pt x="2225062" y="6419633"/>
                </a:lnTo>
                <a:close/>
                <a:moveTo>
                  <a:pt x="375419" y="5774782"/>
                </a:moveTo>
                <a:lnTo>
                  <a:pt x="375419" y="6206582"/>
                </a:lnTo>
                <a:lnTo>
                  <a:pt x="7119" y="5993857"/>
                </a:lnTo>
                <a:close/>
                <a:moveTo>
                  <a:pt x="2956949" y="5143885"/>
                </a:moveTo>
                <a:lnTo>
                  <a:pt x="2597149" y="5353001"/>
                </a:lnTo>
                <a:lnTo>
                  <a:pt x="2956949" y="5559041"/>
                </a:lnTo>
                <a:close/>
                <a:moveTo>
                  <a:pt x="2230362" y="4715310"/>
                </a:moveTo>
                <a:lnTo>
                  <a:pt x="2230362" y="5133540"/>
                </a:lnTo>
                <a:lnTo>
                  <a:pt x="2585550" y="4924425"/>
                </a:lnTo>
                <a:close/>
                <a:moveTo>
                  <a:pt x="3325300" y="4073910"/>
                </a:moveTo>
                <a:lnTo>
                  <a:pt x="2968574" y="4283026"/>
                </a:lnTo>
                <a:lnTo>
                  <a:pt x="3325300" y="4489066"/>
                </a:lnTo>
                <a:close/>
                <a:moveTo>
                  <a:pt x="371475" y="4067174"/>
                </a:moveTo>
                <a:lnTo>
                  <a:pt x="374650" y="4495799"/>
                </a:lnTo>
                <a:lnTo>
                  <a:pt x="3175" y="4708524"/>
                </a:lnTo>
                <a:lnTo>
                  <a:pt x="0" y="4279899"/>
                </a:lnTo>
                <a:close/>
                <a:moveTo>
                  <a:pt x="2218761" y="3439295"/>
                </a:moveTo>
                <a:lnTo>
                  <a:pt x="1858961" y="3645335"/>
                </a:lnTo>
                <a:lnTo>
                  <a:pt x="1858961" y="4063565"/>
                </a:lnTo>
                <a:lnTo>
                  <a:pt x="2218761" y="4269605"/>
                </a:lnTo>
                <a:close/>
                <a:moveTo>
                  <a:pt x="376749" y="2781299"/>
                </a:moveTo>
                <a:lnTo>
                  <a:pt x="745049" y="2997199"/>
                </a:lnTo>
                <a:lnTo>
                  <a:pt x="376749" y="3209924"/>
                </a:lnTo>
                <a:close/>
                <a:moveTo>
                  <a:pt x="741874" y="2143124"/>
                </a:moveTo>
                <a:lnTo>
                  <a:pt x="741874" y="2571749"/>
                </a:lnTo>
                <a:lnTo>
                  <a:pt x="373574" y="2359024"/>
                </a:lnTo>
                <a:close/>
                <a:moveTo>
                  <a:pt x="1850512" y="1930786"/>
                </a:moveTo>
                <a:lnTo>
                  <a:pt x="1493786" y="2139901"/>
                </a:lnTo>
                <a:lnTo>
                  <a:pt x="1850512" y="2345941"/>
                </a:lnTo>
                <a:close/>
                <a:moveTo>
                  <a:pt x="2953874" y="442263"/>
                </a:moveTo>
                <a:lnTo>
                  <a:pt x="2600224" y="651379"/>
                </a:lnTo>
                <a:lnTo>
                  <a:pt x="2600224" y="1478615"/>
                </a:lnTo>
                <a:lnTo>
                  <a:pt x="2953874" y="1272575"/>
                </a:lnTo>
                <a:close/>
                <a:moveTo>
                  <a:pt x="2956178" y="0"/>
                </a:moveTo>
                <a:lnTo>
                  <a:pt x="5185850" y="0"/>
                </a:lnTo>
                <a:lnTo>
                  <a:pt x="5185850" y="6858000"/>
                </a:lnTo>
                <a:lnTo>
                  <a:pt x="1496969" y="6858000"/>
                </a:lnTo>
                <a:lnTo>
                  <a:pt x="1467959" y="6446066"/>
                </a:lnTo>
                <a:lnTo>
                  <a:pt x="1848205" y="6201623"/>
                </a:lnTo>
                <a:cubicBezTo>
                  <a:pt x="1849156" y="6064234"/>
                  <a:pt x="1850106" y="5926844"/>
                  <a:pt x="1851057" y="5789455"/>
                </a:cubicBezTo>
                <a:lnTo>
                  <a:pt x="2218925" y="5558355"/>
                </a:lnTo>
                <a:cubicBezTo>
                  <a:pt x="2220827" y="5417468"/>
                  <a:pt x="2225109" y="5278964"/>
                  <a:pt x="2227011" y="5138077"/>
                </a:cubicBezTo>
                <a:lnTo>
                  <a:pt x="1119166" y="4499571"/>
                </a:lnTo>
                <a:cubicBezTo>
                  <a:pt x="1118372" y="4355195"/>
                  <a:pt x="1122341" y="4210820"/>
                  <a:pt x="1121547" y="4066444"/>
                </a:cubicBezTo>
                <a:lnTo>
                  <a:pt x="1488920" y="3856303"/>
                </a:lnTo>
                <a:cubicBezTo>
                  <a:pt x="1489871" y="3708587"/>
                  <a:pt x="1478914" y="3570396"/>
                  <a:pt x="1479865" y="3422680"/>
                </a:cubicBezTo>
                <a:lnTo>
                  <a:pt x="1121546" y="3212070"/>
                </a:lnTo>
                <a:lnTo>
                  <a:pt x="1118222" y="2351047"/>
                </a:lnTo>
                <a:lnTo>
                  <a:pt x="1488448" y="2137584"/>
                </a:lnTo>
                <a:cubicBezTo>
                  <a:pt x="1489399" y="1988760"/>
                  <a:pt x="1487969" y="1866129"/>
                  <a:pt x="1488920" y="1717305"/>
                </a:cubicBezTo>
                <a:lnTo>
                  <a:pt x="2218925" y="1285121"/>
                </a:lnTo>
                <a:cubicBezTo>
                  <a:pt x="2217172" y="1296563"/>
                  <a:pt x="2229709" y="426942"/>
                  <a:pt x="2230338" y="428859"/>
                </a:cubicBezTo>
                <a:close/>
                <a:moveTo>
                  <a:pt x="1487999" y="0"/>
                </a:moveTo>
                <a:lnTo>
                  <a:pt x="1488001" y="0"/>
                </a:lnTo>
                <a:lnTo>
                  <a:pt x="1859474" y="212724"/>
                </a:lnTo>
                <a:lnTo>
                  <a:pt x="1856299" y="641349"/>
                </a:lnTo>
                <a:lnTo>
                  <a:pt x="1484824" y="42862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62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859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851" y="512763"/>
            <a:ext cx="10424310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293898" y="558343"/>
            <a:ext cx="669505" cy="835189"/>
            <a:chOff x="324330" y="584804"/>
            <a:chExt cx="608641" cy="759263"/>
          </a:xfrm>
        </p:grpSpPr>
        <p:sp>
          <p:nvSpPr>
            <p:cNvPr id="9" name="Parallelogram 8"/>
            <p:cNvSpPr/>
            <p:nvPr/>
          </p:nvSpPr>
          <p:spPr>
            <a:xfrm rot="5400000">
              <a:off x="249018" y="790981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 rot="8954161" flipH="1" flipV="1">
              <a:off x="324330" y="904675"/>
              <a:ext cx="608641" cy="112731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094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426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851" y="512763"/>
            <a:ext cx="10424310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4" name="Text Placeholder 3"/>
          <p:cNvSpPr>
            <a:spLocks noGrp="1"/>
          </p:cNvSpPr>
          <p:nvPr>
            <p:ph idx="1" hasCustomPrompt="1"/>
          </p:nvPr>
        </p:nvSpPr>
        <p:spPr>
          <a:xfrm>
            <a:off x="695325" y="1959430"/>
            <a:ext cx="10764836" cy="39781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>
              <a:defRPr sz="1400">
                <a:latin typeface="+mn-lt"/>
                <a:ea typeface="+mn-ea"/>
                <a:cs typeface="+mn-cs"/>
                <a:sym typeface="+mn-lt"/>
              </a:defRPr>
            </a:lvl2pPr>
            <a:lvl3pPr>
              <a:defRPr sz="1400">
                <a:latin typeface="+mn-lt"/>
                <a:ea typeface="+mn-ea"/>
                <a:cs typeface="+mn-cs"/>
                <a:sym typeface="+mn-lt"/>
              </a:defRPr>
            </a:lvl3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3898" y="558343"/>
            <a:ext cx="669505" cy="835189"/>
            <a:chOff x="324330" y="584804"/>
            <a:chExt cx="608641" cy="759263"/>
          </a:xfrm>
        </p:grpSpPr>
        <p:sp>
          <p:nvSpPr>
            <p:cNvPr id="11" name="Parallelogram 10"/>
            <p:cNvSpPr/>
            <p:nvPr/>
          </p:nvSpPr>
          <p:spPr>
            <a:xfrm rot="5400000">
              <a:off x="249018" y="790981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 rot="8954161" flipH="1" flipV="1">
              <a:off x="324330" y="904675"/>
              <a:ext cx="608641" cy="112731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72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44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95325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400" b="0" i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58396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90007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60341EF-0BB0-494E-B98F-EEF9FFE4740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5502869" y="-2234285"/>
            <a:ext cx="6827520" cy="111191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ABE9C98-EA2F-2B42-A1B4-015983365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945" t="58833"/>
          <a:stretch/>
        </p:blipFill>
        <p:spPr>
          <a:xfrm flipH="1">
            <a:off x="9862772" y="-1"/>
            <a:ext cx="2404753" cy="280227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0D659CC-30F7-B242-A3E7-4F83A8C997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6" y="1360173"/>
            <a:ext cx="5400674" cy="1994624"/>
          </a:xfrm>
        </p:spPr>
        <p:txBody>
          <a:bodyPr lIns="0" tIns="0" rIns="0" bIns="0" anchor="b">
            <a:noAutofit/>
          </a:bodyPr>
          <a:lstStyle>
            <a:lvl1pPr algn="l" rtl="0">
              <a:defRPr sz="4400" b="0" i="0" baseline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Presentation title goes here</a:t>
            </a:r>
            <a:endParaRPr lang="ar-SA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4AB1020-BDD5-D543-9386-A37BAB1616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510540"/>
            <a:ext cx="5400675" cy="863751"/>
          </a:xfrm>
        </p:spPr>
        <p:txBody>
          <a:bodyPr lIns="0" tIns="0" rIns="0" bIns="0">
            <a:noAutofit/>
          </a:bodyPr>
          <a:lstStyle>
            <a:lvl1pPr marL="0" indent="0" algn="l" rtl="0">
              <a:buNone/>
              <a:defRPr sz="2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 goes here</a:t>
            </a:r>
            <a:endParaRPr lang="ar-SA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DF0EF97-5A9E-D94C-B5F0-8719A6852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586286"/>
            <a:ext cx="5400675" cy="365125"/>
          </a:xfrm>
        </p:spPr>
        <p:txBody>
          <a:bodyPr/>
          <a:lstStyle>
            <a:lvl1pPr algn="l" rtl="0">
              <a:defRPr sz="1800" b="0" i="0">
                <a:solidFill>
                  <a:schemeClr val="tx1"/>
                </a:solidFill>
                <a:latin typeface="Objectivity Light" pitchFamily="2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1218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55243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097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95325" y="2681103"/>
            <a:ext cx="306255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282341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50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851" y="512763"/>
            <a:ext cx="5850949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3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93898" y="558343"/>
            <a:ext cx="669505" cy="835189"/>
            <a:chOff x="324330" y="584804"/>
            <a:chExt cx="608641" cy="759263"/>
          </a:xfrm>
        </p:grpSpPr>
        <p:sp>
          <p:nvSpPr>
            <p:cNvPr id="12" name="Parallelogram 11"/>
            <p:cNvSpPr/>
            <p:nvPr/>
          </p:nvSpPr>
          <p:spPr>
            <a:xfrm rot="5400000">
              <a:off x="249018" y="790981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 rot="8954161" flipH="1" flipV="1">
              <a:off x="324330" y="904675"/>
              <a:ext cx="608641" cy="112731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0724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8D4CCA0-A9B3-B242-93CD-01B196479105}"/>
              </a:ext>
            </a:extLst>
          </p:cNvPr>
          <p:cNvSpPr/>
          <p:nvPr userDrawn="1"/>
        </p:nvSpPr>
        <p:spPr>
          <a:xfrm>
            <a:off x="7171956" y="0"/>
            <a:ext cx="50263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defTabSz="914400" rtl="0" eaLnBrk="1" latinLnBrk="0" hangingPunct="1">
              <a:lnSpc>
                <a:spcPct val="90000"/>
              </a:lnSpc>
              <a:spcAft>
                <a:spcPts val="1000"/>
              </a:spcAft>
            </a:pPr>
            <a:endParaRPr lang="en-SA" sz="1600" dirty="0" err="1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826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tx2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851" y="512763"/>
            <a:ext cx="5850949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3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93898" y="558343"/>
            <a:ext cx="669505" cy="835189"/>
            <a:chOff x="324330" y="584804"/>
            <a:chExt cx="608641" cy="759263"/>
          </a:xfrm>
        </p:grpSpPr>
        <p:sp>
          <p:nvSpPr>
            <p:cNvPr id="12" name="Parallelogram 11"/>
            <p:cNvSpPr/>
            <p:nvPr/>
          </p:nvSpPr>
          <p:spPr>
            <a:xfrm rot="5400000">
              <a:off x="249018" y="790981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 rot="8954161" flipH="1" flipV="1">
              <a:off x="324330" y="904675"/>
              <a:ext cx="608641" cy="112731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550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919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95325" y="2681103"/>
            <a:ext cx="306255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721462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="0" i="0" baseline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5325" y="1785600"/>
            <a:ext cx="4323075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064622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5325" y="1804650"/>
            <a:ext cx="618222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087654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273370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056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95325" y="2764203"/>
            <a:ext cx="241331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00" b="0" i="0" baseline="0">
                <a:solidFill>
                  <a:schemeClr val="tx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192716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39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5325" y="2764203"/>
            <a:ext cx="2413313" cy="1314311"/>
          </a:xfrm>
        </p:spPr>
        <p:txBody>
          <a:bodyPr anchor="ctr" anchorCtr="0">
            <a:noAutofit/>
          </a:bodyPr>
          <a:lstStyle>
            <a:lvl1pPr>
              <a:defRPr sz="3400" b="0" i="0" baseline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66545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1785600"/>
            <a:ext cx="39969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 i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91669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60341EF-0BB0-494E-B98F-EEF9FFE4740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5502869" y="-2234285"/>
            <a:ext cx="6827520" cy="111191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ABE9C98-EA2F-2B42-A1B4-015983365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945" t="58833"/>
          <a:stretch/>
        </p:blipFill>
        <p:spPr>
          <a:xfrm flipH="1">
            <a:off x="9862772" y="-1"/>
            <a:ext cx="2404753" cy="280227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F4265B2-DD13-4140-B8C0-A0D14130CDDD}"/>
              </a:ext>
            </a:extLst>
          </p:cNvPr>
          <p:cNvSpPr txBox="1">
            <a:spLocks/>
          </p:cNvSpPr>
          <p:nvPr userDrawn="1"/>
        </p:nvSpPr>
        <p:spPr>
          <a:xfrm>
            <a:off x="695325" y="3013501"/>
            <a:ext cx="540067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6000" b="0" i="0" dirty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hank you</a:t>
            </a:r>
            <a:endParaRPr lang="ar-SA" sz="6000" b="0" i="0" dirty="0">
              <a:solidFill>
                <a:schemeClr val="tx2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767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1785600"/>
            <a:ext cx="39969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781640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028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851" y="512763"/>
            <a:ext cx="4267795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3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93898" y="558343"/>
            <a:ext cx="669505" cy="835189"/>
            <a:chOff x="324330" y="584804"/>
            <a:chExt cx="608641" cy="759263"/>
          </a:xfrm>
        </p:grpSpPr>
        <p:sp>
          <p:nvSpPr>
            <p:cNvPr id="12" name="Parallelogram 11"/>
            <p:cNvSpPr/>
            <p:nvPr/>
          </p:nvSpPr>
          <p:spPr>
            <a:xfrm rot="5400000">
              <a:off x="249018" y="790981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8954161" flipH="1" flipV="1">
              <a:off x="324330" y="904675"/>
              <a:ext cx="608641" cy="112731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789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72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4608321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191113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94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5851" y="512763"/>
            <a:ext cx="5850949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2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93898" y="558343"/>
            <a:ext cx="669505" cy="835189"/>
            <a:chOff x="324330" y="584804"/>
            <a:chExt cx="608641" cy="759263"/>
          </a:xfrm>
        </p:grpSpPr>
        <p:sp>
          <p:nvSpPr>
            <p:cNvPr id="14" name="Parallelogram 13"/>
            <p:cNvSpPr/>
            <p:nvPr/>
          </p:nvSpPr>
          <p:spPr>
            <a:xfrm rot="5400000">
              <a:off x="249018" y="790981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 rot="8954161" flipH="1" flipV="1">
              <a:off x="324330" y="904675"/>
              <a:ext cx="608641" cy="112731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8732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002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6191475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56720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3826333"/>
            <a:ext cx="10764836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974871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95325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3826333"/>
            <a:ext cx="10764836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66009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4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03289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146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10764836" cy="909637"/>
          </a:xfrm>
        </p:spPr>
        <p:txBody>
          <a:bodyPr lIns="0" tIns="0" rIns="0" bIns="0" anchor="t" anchorCtr="0">
            <a:noAutofit/>
          </a:bodyPr>
          <a:lstStyle>
            <a:lvl1pPr>
              <a:defRPr sz="3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61823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02593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90CEA-B65A-F641-B3A5-8872C9E8F12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CF70E9A-73B9-1149-A361-6E9C31E27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6" y="1360173"/>
            <a:ext cx="5400674" cy="1994624"/>
          </a:xfrm>
        </p:spPr>
        <p:txBody>
          <a:bodyPr lIns="0" tIns="0" rIns="0" bIns="0" anchor="b">
            <a:noAutofit/>
          </a:bodyPr>
          <a:lstStyle>
            <a:lvl1pPr algn="l" rtl="0">
              <a:defRPr sz="4400" b="0" i="0" baseline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Presentation title goes here</a:t>
            </a:r>
            <a:endParaRPr lang="ar-SA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C17D5DE-3268-F54F-9782-DE1A241738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510540"/>
            <a:ext cx="5400675" cy="863751"/>
          </a:xfrm>
        </p:spPr>
        <p:txBody>
          <a:bodyPr lIns="0" tIns="0" rIns="0" bIns="0">
            <a:noAutofit/>
          </a:bodyPr>
          <a:lstStyle>
            <a:lvl1pPr marL="0" indent="0" algn="l" rtl="0">
              <a:buNone/>
              <a:defRPr sz="2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 goes here</a:t>
            </a:r>
            <a:endParaRPr lang="ar-SA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2C028544-F17E-CA44-A148-B6F977399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586286"/>
            <a:ext cx="5400675" cy="365125"/>
          </a:xfrm>
        </p:spPr>
        <p:txBody>
          <a:bodyPr/>
          <a:lstStyle>
            <a:lvl1pPr algn="l" rtl="0">
              <a:defRPr sz="1800" b="0" i="0">
                <a:solidFill>
                  <a:schemeClr val="tx1"/>
                </a:solidFill>
                <a:latin typeface="Objectivity Light" pitchFamily="2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20D73D2-80E1-4142-A764-3E47F8F2590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5281915" y="-40341"/>
            <a:ext cx="7639559" cy="6938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28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195888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26034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211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1BE9CA4-DAD2-FF48-A729-547A9CF8A2CD}"/>
              </a:ext>
            </a:extLst>
          </p:cNvPr>
          <p:cNvSpPr txBox="1">
            <a:spLocks/>
          </p:cNvSpPr>
          <p:nvPr userDrawn="1"/>
        </p:nvSpPr>
        <p:spPr>
          <a:xfrm>
            <a:off x="695325" y="3013501"/>
            <a:ext cx="540067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60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hank you</a:t>
            </a:r>
            <a:endParaRPr lang="ar-SA" sz="60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>
            <a:off x="7395884" y="4078941"/>
            <a:ext cx="4794997" cy="2779059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7337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 err="1">
              <a:solidFill>
                <a:srgbClr val="FFFFFF"/>
              </a:solidFill>
              <a:latin typeface="Objectivity Light" pitchFamily="2" charset="77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971" y="5773271"/>
            <a:ext cx="1829511" cy="64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51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Objectivity Light" pitchFamily="2" charset="77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Objectivity Light" pitchFamily="2" charset="77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Objectivity Light" pitchFamily="2" charset="77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9691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448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B1BE9CA4-DAD2-FF48-A729-547A9CF8A2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1360173"/>
            <a:ext cx="6700559" cy="1994624"/>
          </a:xfrm>
        </p:spPr>
        <p:txBody>
          <a:bodyPr lIns="0" tIns="0" rIns="0" bIns="0" anchor="b">
            <a:noAutofit/>
          </a:bodyPr>
          <a:lstStyle>
            <a:lvl1pPr algn="l">
              <a:defRPr sz="4400" b="0" i="0" baseline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Presentation title goes here</a:t>
            </a:r>
            <a:endParaRPr lang="ar-SA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29E3B25C-B170-F241-807D-DB55A4665B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510540"/>
            <a:ext cx="6700560" cy="86375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 goes here</a:t>
            </a:r>
            <a:endParaRPr lang="ar-SA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586286"/>
            <a:ext cx="5400675" cy="36512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6" name="Isosceles Triangle 25"/>
          <p:cNvSpPr/>
          <p:nvPr userDrawn="1"/>
        </p:nvSpPr>
        <p:spPr>
          <a:xfrm>
            <a:off x="7395884" y="4078941"/>
            <a:ext cx="4794997" cy="2779059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7337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 err="1">
              <a:solidFill>
                <a:srgbClr val="FFFFFF"/>
              </a:solidFill>
              <a:latin typeface="Objectivity Light" pitchFamily="2" charset="77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971" y="5773271"/>
            <a:ext cx="1829511" cy="64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26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58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8050" y="512763"/>
            <a:ext cx="10522113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397420" y="550751"/>
            <a:ext cx="462459" cy="576905"/>
            <a:chOff x="324330" y="590555"/>
            <a:chExt cx="608641" cy="759263"/>
          </a:xfrm>
        </p:grpSpPr>
        <p:sp>
          <p:nvSpPr>
            <p:cNvPr id="9" name="Parallelogram 8"/>
            <p:cNvSpPr/>
            <p:nvPr/>
          </p:nvSpPr>
          <p:spPr>
            <a:xfrm rot="5400000">
              <a:off x="249018" y="796732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 rot="8954161" flipH="1" flipV="1">
              <a:off x="324330" y="915653"/>
              <a:ext cx="608641" cy="11273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175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75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959430"/>
            <a:ext cx="10764836" cy="39781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b="0" i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8050" y="512763"/>
            <a:ext cx="10522112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397420" y="550751"/>
            <a:ext cx="462459" cy="576905"/>
            <a:chOff x="324330" y="590555"/>
            <a:chExt cx="608641" cy="759263"/>
          </a:xfrm>
        </p:grpSpPr>
        <p:sp>
          <p:nvSpPr>
            <p:cNvPr id="9" name="Parallelogram 8"/>
            <p:cNvSpPr/>
            <p:nvPr/>
          </p:nvSpPr>
          <p:spPr>
            <a:xfrm rot="5400000">
              <a:off x="249018" y="796732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 rot="8954161" flipH="1" flipV="1">
              <a:off x="324330" y="915653"/>
              <a:ext cx="608641" cy="11273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386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0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5325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0" i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95325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 b="0" i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23482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87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1600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172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5325" y="3826800"/>
            <a:ext cx="10764836" cy="2041200"/>
          </a:xfrm>
        </p:spPr>
        <p:txBody>
          <a:bodyPr anchor="t">
            <a:noAutofit/>
          </a:bodyPr>
          <a:lstStyle>
            <a:lvl1pPr>
              <a:defRPr sz="5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95325" y="3680016"/>
            <a:ext cx="1149326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14649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90CEA-B65A-F641-B3A5-8872C9E8F12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697AD10-04C5-6943-A6AD-937914B11DE5}"/>
              </a:ext>
            </a:extLst>
          </p:cNvPr>
          <p:cNvSpPr txBox="1">
            <a:spLocks/>
          </p:cNvSpPr>
          <p:nvPr userDrawn="1"/>
        </p:nvSpPr>
        <p:spPr>
          <a:xfrm>
            <a:off x="695325" y="3013501"/>
            <a:ext cx="540067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6000" b="0" i="0" dirty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hank you</a:t>
            </a:r>
            <a:endParaRPr lang="ar-SA" sz="6000" b="0" i="0" dirty="0">
              <a:solidFill>
                <a:schemeClr val="tx2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8F69376-CBBE-2646-A34E-516670EEE00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5281915" y="-40341"/>
            <a:ext cx="7639559" cy="6938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02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186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9532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584506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9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8050" y="512763"/>
            <a:ext cx="5968480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3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97420" y="550751"/>
            <a:ext cx="462459" cy="576905"/>
            <a:chOff x="324330" y="590555"/>
            <a:chExt cx="608641" cy="759263"/>
          </a:xfrm>
        </p:grpSpPr>
        <p:sp>
          <p:nvSpPr>
            <p:cNvPr id="12" name="Parallelogram 11"/>
            <p:cNvSpPr/>
            <p:nvPr/>
          </p:nvSpPr>
          <p:spPr>
            <a:xfrm rot="5400000">
              <a:off x="249018" y="796732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8954161" flipH="1" flipV="1">
              <a:off x="324330" y="915653"/>
              <a:ext cx="608641" cy="11273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138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91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8050" y="512763"/>
            <a:ext cx="7793534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3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97420" y="550751"/>
            <a:ext cx="462459" cy="576905"/>
            <a:chOff x="324330" y="590555"/>
            <a:chExt cx="608641" cy="759263"/>
          </a:xfrm>
        </p:grpSpPr>
        <p:sp>
          <p:nvSpPr>
            <p:cNvPr id="12" name="Parallelogram 11"/>
            <p:cNvSpPr/>
            <p:nvPr/>
          </p:nvSpPr>
          <p:spPr>
            <a:xfrm rot="5400000">
              <a:off x="249018" y="796732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 rot="8954161" flipH="1" flipV="1">
              <a:off x="324330" y="915653"/>
              <a:ext cx="608641" cy="11273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4065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22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9532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563644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="0" i="0" baseline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532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725900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5325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 i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731446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163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9532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507779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93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532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13784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6031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689863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91285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90CEA-B65A-F641-B3A5-8872C9E8F12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CF70E9A-73B9-1149-A361-6E9C31E27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6" y="1360173"/>
            <a:ext cx="5400674" cy="1994624"/>
          </a:xfrm>
        </p:spPr>
        <p:txBody>
          <a:bodyPr lIns="0" tIns="0" rIns="0" bIns="0" anchor="b">
            <a:noAutofit/>
          </a:bodyPr>
          <a:lstStyle>
            <a:lvl1pPr algn="l" rtl="0">
              <a:defRPr sz="4400" b="0" i="0" baseline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Presentation title goes here</a:t>
            </a:r>
            <a:endParaRPr lang="ar-SA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C17D5DE-3268-F54F-9782-DE1A241738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510540"/>
            <a:ext cx="5400675" cy="863751"/>
          </a:xfrm>
        </p:spPr>
        <p:txBody>
          <a:bodyPr lIns="0" tIns="0" rIns="0" bIns="0">
            <a:noAutofit/>
          </a:bodyPr>
          <a:lstStyle>
            <a:lvl1pPr marL="0" indent="0" algn="l" rtl="0">
              <a:buNone/>
              <a:defRPr sz="2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 goes here</a:t>
            </a:r>
            <a:endParaRPr lang="ar-SA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2C028544-F17E-CA44-A148-B6F977399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586286"/>
            <a:ext cx="5400675" cy="365125"/>
          </a:xfrm>
        </p:spPr>
        <p:txBody>
          <a:bodyPr/>
          <a:lstStyle>
            <a:lvl1pPr algn="l" rtl="0">
              <a:defRPr sz="1800" b="0" i="0">
                <a:solidFill>
                  <a:schemeClr val="tx1"/>
                </a:solidFill>
                <a:latin typeface="Objectivity Light" pitchFamily="2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AC25735-C40C-8D48-B12D-D817BB2FA353}"/>
              </a:ext>
            </a:extLst>
          </p:cNvPr>
          <p:cNvGrpSpPr/>
          <p:nvPr userDrawn="1"/>
        </p:nvGrpSpPr>
        <p:grpSpPr>
          <a:xfrm flipH="1">
            <a:off x="5312377" y="-201273"/>
            <a:ext cx="7452637" cy="7423626"/>
            <a:chOff x="-352927" y="-204202"/>
            <a:chExt cx="7452637" cy="7423626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F5DC386-4E20-FF40-AB2A-ACDA5700EF63}"/>
                </a:ext>
              </a:extLst>
            </p:cNvPr>
            <p:cNvSpPr/>
            <p:nvPr/>
          </p:nvSpPr>
          <p:spPr>
            <a:xfrm>
              <a:off x="-71958" y="-108637"/>
              <a:ext cx="6350804" cy="6993979"/>
            </a:xfrm>
            <a:custGeom>
              <a:avLst/>
              <a:gdLst>
                <a:gd name="connsiteX0" fmla="*/ 6025221 w 6350804"/>
                <a:gd name="connsiteY0" fmla="*/ 5225441 h 6993979"/>
                <a:gd name="connsiteX1" fmla="*/ 4256418 w 6350804"/>
                <a:gd name="connsiteY1" fmla="*/ 6993980 h 6993979"/>
                <a:gd name="connsiteX2" fmla="*/ 0 w 6350804"/>
                <a:gd name="connsiteY2" fmla="*/ 6993980 h 6993979"/>
                <a:gd name="connsiteX3" fmla="*/ 0 w 6350804"/>
                <a:gd name="connsiteY3" fmla="*/ 0 h 6993979"/>
                <a:gd name="connsiteX4" fmla="*/ 2373267 w 6350804"/>
                <a:gd name="connsiteY4" fmla="*/ 0 h 6993979"/>
                <a:gd name="connsiteX5" fmla="*/ 6025221 w 6350804"/>
                <a:gd name="connsiteY5" fmla="*/ 3651050 h 6993979"/>
                <a:gd name="connsiteX6" fmla="*/ 6025221 w 6350804"/>
                <a:gd name="connsiteY6" fmla="*/ 5225441 h 699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0804" h="6993979">
                  <a:moveTo>
                    <a:pt x="6025221" y="5225441"/>
                  </a:moveTo>
                  <a:lnTo>
                    <a:pt x="4256418" y="6993980"/>
                  </a:lnTo>
                  <a:lnTo>
                    <a:pt x="0" y="6993980"/>
                  </a:lnTo>
                  <a:lnTo>
                    <a:pt x="0" y="0"/>
                  </a:lnTo>
                  <a:lnTo>
                    <a:pt x="2373267" y="0"/>
                  </a:lnTo>
                  <a:lnTo>
                    <a:pt x="6025221" y="3651050"/>
                  </a:lnTo>
                  <a:cubicBezTo>
                    <a:pt x="6459332" y="4086100"/>
                    <a:pt x="6459332" y="4790392"/>
                    <a:pt x="6025221" y="5225441"/>
                  </a:cubicBezTo>
                  <a:close/>
                </a:path>
              </a:pathLst>
            </a:custGeom>
            <a:blipFill dpi="0" rotWithShape="1">
              <a:blip r:embed="rId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5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 dirty="0"/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9CAA795-952A-4C4E-8FF3-E8F422FC0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-88000" y="-145215"/>
              <a:ext cx="6350804" cy="7020094"/>
            </a:xfrm>
            <a:prstGeom prst="rect">
              <a:avLst/>
            </a:prstGeom>
          </p:spPr>
        </p:pic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3D6FFA2E-FB04-8E47-9F82-EEA26247CE95}"/>
                </a:ext>
              </a:extLst>
            </p:cNvPr>
            <p:cNvSpPr/>
            <p:nvPr/>
          </p:nvSpPr>
          <p:spPr>
            <a:xfrm>
              <a:off x="-71958" y="3338197"/>
              <a:ext cx="2226233" cy="3547144"/>
            </a:xfrm>
            <a:custGeom>
              <a:avLst/>
              <a:gdLst>
                <a:gd name="connsiteX0" fmla="*/ 1782107 w 2226233"/>
                <a:gd name="connsiteY0" fmla="*/ 1781842 h 3547144"/>
                <a:gd name="connsiteX1" fmla="*/ 0 w 2226233"/>
                <a:gd name="connsiteY1" fmla="*/ 0 h 3547144"/>
                <a:gd name="connsiteX2" fmla="*/ 0 w 2226233"/>
                <a:gd name="connsiteY2" fmla="*/ 1144032 h 3547144"/>
                <a:gd name="connsiteX3" fmla="*/ 1210006 w 2226233"/>
                <a:gd name="connsiteY3" fmla="*/ 2353857 h 3547144"/>
                <a:gd name="connsiteX4" fmla="*/ 1210006 w 2226233"/>
                <a:gd name="connsiteY4" fmla="*/ 3356593 h 3547144"/>
                <a:gd name="connsiteX5" fmla="*/ 1019426 w 2226233"/>
                <a:gd name="connsiteY5" fmla="*/ 3547145 h 3547144"/>
                <a:gd name="connsiteX6" fmla="*/ 2060067 w 2226233"/>
                <a:gd name="connsiteY6" fmla="*/ 3547145 h 3547144"/>
                <a:gd name="connsiteX7" fmla="*/ 1782107 w 2226233"/>
                <a:gd name="connsiteY7" fmla="*/ 1781841 h 354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6233" h="3547144">
                  <a:moveTo>
                    <a:pt x="1782107" y="1781842"/>
                  </a:moveTo>
                  <a:lnTo>
                    <a:pt x="0" y="0"/>
                  </a:lnTo>
                  <a:lnTo>
                    <a:pt x="0" y="1144032"/>
                  </a:lnTo>
                  <a:lnTo>
                    <a:pt x="1210006" y="2353857"/>
                  </a:lnTo>
                  <a:cubicBezTo>
                    <a:pt x="1486573" y="2630909"/>
                    <a:pt x="1486573" y="3079541"/>
                    <a:pt x="1210006" y="3356593"/>
                  </a:cubicBezTo>
                  <a:lnTo>
                    <a:pt x="1019426" y="3547145"/>
                  </a:lnTo>
                  <a:lnTo>
                    <a:pt x="2060067" y="3547145"/>
                  </a:lnTo>
                  <a:cubicBezTo>
                    <a:pt x="2359305" y="2960579"/>
                    <a:pt x="2247121" y="2248106"/>
                    <a:pt x="1782107" y="1781841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35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/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3ECFB4EA-1FC3-934B-A09E-B975E8BF1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-352927" y="-204202"/>
              <a:ext cx="6631773" cy="7423626"/>
            </a:xfrm>
            <a:prstGeom prst="rect">
              <a:avLst/>
            </a:prstGeom>
          </p:spPr>
        </p:pic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3665B4D-5E62-5640-B2A9-DF84EF56EF82}"/>
                </a:ext>
              </a:extLst>
            </p:cNvPr>
            <p:cNvSpPr/>
            <p:nvPr/>
          </p:nvSpPr>
          <p:spPr>
            <a:xfrm>
              <a:off x="1727780" y="-52762"/>
              <a:ext cx="5371930" cy="6927642"/>
            </a:xfrm>
            <a:custGeom>
              <a:avLst/>
              <a:gdLst>
                <a:gd name="connsiteX0" fmla="*/ 1012587 w 5371930"/>
                <a:gd name="connsiteY0" fmla="*/ 2566721 h 6927642"/>
                <a:gd name="connsiteX1" fmla="*/ 1012587 w 5371930"/>
                <a:gd name="connsiteY1" fmla="*/ 1579536 h 6927642"/>
                <a:gd name="connsiteX2" fmla="*/ 2591670 w 5371930"/>
                <a:gd name="connsiteY2" fmla="*/ 0 h 6927642"/>
                <a:gd name="connsiteX3" fmla="*/ 2580503 w 5371930"/>
                <a:gd name="connsiteY3" fmla="*/ 0 h 6927642"/>
                <a:gd name="connsiteX4" fmla="*/ 1006937 w 5371930"/>
                <a:gd name="connsiteY4" fmla="*/ 1573819 h 6927642"/>
                <a:gd name="connsiteX5" fmla="*/ 1006937 w 5371930"/>
                <a:gd name="connsiteY5" fmla="*/ 2572569 h 6927642"/>
                <a:gd name="connsiteX6" fmla="*/ 5360763 w 5371930"/>
                <a:gd name="connsiteY6" fmla="*/ 6927643 h 6927642"/>
                <a:gd name="connsiteX7" fmla="*/ 5371931 w 5371930"/>
                <a:gd name="connsiteY7" fmla="*/ 6927643 h 6927642"/>
                <a:gd name="connsiteX8" fmla="*/ 446156 w 5371930"/>
                <a:gd name="connsiteY8" fmla="*/ 1012877 h 6927642"/>
                <a:gd name="connsiteX9" fmla="*/ 1458939 w 5371930"/>
                <a:gd name="connsiteY9" fmla="*/ 0 h 6927642"/>
                <a:gd name="connsiteX10" fmla="*/ 1447509 w 5371930"/>
                <a:gd name="connsiteY10" fmla="*/ 0 h 6927642"/>
                <a:gd name="connsiteX11" fmla="*/ 440638 w 5371930"/>
                <a:gd name="connsiteY11" fmla="*/ 1007357 h 6927642"/>
                <a:gd name="connsiteX12" fmla="*/ 440638 w 5371930"/>
                <a:gd name="connsiteY12" fmla="*/ 3139097 h 6927642"/>
                <a:gd name="connsiteX13" fmla="*/ 4228033 w 5371930"/>
                <a:gd name="connsiteY13" fmla="*/ 6927512 h 6927642"/>
                <a:gd name="connsiteX14" fmla="*/ 4239266 w 5371930"/>
                <a:gd name="connsiteY14" fmla="*/ 6927512 h 6927642"/>
                <a:gd name="connsiteX15" fmla="*/ 446156 w 5371930"/>
                <a:gd name="connsiteY15" fmla="*/ 3133380 h 6927642"/>
                <a:gd name="connsiteX16" fmla="*/ 446156 w 5371930"/>
                <a:gd name="connsiteY16" fmla="*/ 1012877 h 692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71930" h="6927642">
                  <a:moveTo>
                    <a:pt x="1012587" y="2566721"/>
                  </a:moveTo>
                  <a:cubicBezTo>
                    <a:pt x="740617" y="2293885"/>
                    <a:pt x="740617" y="1852372"/>
                    <a:pt x="1012587" y="1579536"/>
                  </a:cubicBezTo>
                  <a:lnTo>
                    <a:pt x="2591670" y="0"/>
                  </a:lnTo>
                  <a:lnTo>
                    <a:pt x="2580503" y="0"/>
                  </a:lnTo>
                  <a:lnTo>
                    <a:pt x="1006937" y="1573819"/>
                  </a:lnTo>
                  <a:cubicBezTo>
                    <a:pt x="731618" y="1849783"/>
                    <a:pt x="731618" y="2296605"/>
                    <a:pt x="1006937" y="2572569"/>
                  </a:cubicBezTo>
                  <a:lnTo>
                    <a:pt x="5360763" y="6927643"/>
                  </a:lnTo>
                  <a:lnTo>
                    <a:pt x="5371931" y="6927643"/>
                  </a:lnTo>
                  <a:close/>
                  <a:moveTo>
                    <a:pt x="446156" y="1012877"/>
                  </a:moveTo>
                  <a:lnTo>
                    <a:pt x="1458939" y="0"/>
                  </a:lnTo>
                  <a:lnTo>
                    <a:pt x="1447509" y="0"/>
                  </a:lnTo>
                  <a:lnTo>
                    <a:pt x="440638" y="1007357"/>
                  </a:lnTo>
                  <a:cubicBezTo>
                    <a:pt x="-146879" y="1594846"/>
                    <a:pt x="-146879" y="2551477"/>
                    <a:pt x="440638" y="3139097"/>
                  </a:cubicBezTo>
                  <a:lnTo>
                    <a:pt x="4228033" y="6927512"/>
                  </a:lnTo>
                  <a:lnTo>
                    <a:pt x="4239266" y="6927512"/>
                  </a:lnTo>
                  <a:lnTo>
                    <a:pt x="446156" y="3133380"/>
                  </a:lnTo>
                  <a:cubicBezTo>
                    <a:pt x="-138143" y="2548717"/>
                    <a:pt x="-138143" y="1597474"/>
                    <a:pt x="446156" y="1012877"/>
                  </a:cubicBezTo>
                  <a:close/>
                </a:path>
              </a:pathLst>
            </a:custGeom>
            <a:noFill/>
            <a:ln w="9853" cap="flat">
              <a:solidFill>
                <a:srgbClr val="FE823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SA"/>
            </a:p>
          </p:txBody>
        </p:sp>
      </p:grpSp>
    </p:spTree>
    <p:extLst>
      <p:ext uri="{BB962C8B-B14F-4D97-AF65-F5344CB8AC3E}">
        <p14:creationId xmlns:p14="http://schemas.microsoft.com/office/powerpoint/2010/main" val="228765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026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8050" y="512763"/>
            <a:ext cx="4439772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2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97420" y="550751"/>
            <a:ext cx="462459" cy="576905"/>
            <a:chOff x="324330" y="590555"/>
            <a:chExt cx="608641" cy="759263"/>
          </a:xfrm>
        </p:grpSpPr>
        <p:sp>
          <p:nvSpPr>
            <p:cNvPr id="12" name="Parallelogram 11"/>
            <p:cNvSpPr/>
            <p:nvPr/>
          </p:nvSpPr>
          <p:spPr>
            <a:xfrm rot="5400000">
              <a:off x="249018" y="796732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 rot="8954161" flipH="1" flipV="1">
              <a:off x="324330" y="915653"/>
              <a:ext cx="608641" cy="11273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4398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86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4682497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750413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977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8050" y="512763"/>
            <a:ext cx="5946446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rgbClr val="273370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1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397420" y="550751"/>
            <a:ext cx="462459" cy="576905"/>
            <a:chOff x="324330" y="590555"/>
            <a:chExt cx="608641" cy="759263"/>
          </a:xfrm>
        </p:grpSpPr>
        <p:sp>
          <p:nvSpPr>
            <p:cNvPr id="16" name="Parallelogram 15"/>
            <p:cNvSpPr/>
            <p:nvPr/>
          </p:nvSpPr>
          <p:spPr>
            <a:xfrm rot="5400000">
              <a:off x="249018" y="796732"/>
              <a:ext cx="759263" cy="346910"/>
            </a:xfrm>
            <a:prstGeom prst="parallelogram">
              <a:avLst>
                <a:gd name="adj" fmla="val 60145"/>
              </a:avLst>
            </a:prstGeom>
            <a:gradFill>
              <a:gsLst>
                <a:gs pos="0">
                  <a:srgbClr val="12100C"/>
                </a:gs>
                <a:gs pos="100000">
                  <a:srgbClr val="273470"/>
                </a:gs>
              </a:gsLst>
              <a:lin ang="10800000" scaled="1"/>
            </a:gra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 rot="8954161" flipH="1" flipV="1">
              <a:off x="324330" y="915653"/>
              <a:ext cx="608641" cy="11273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7337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0" i="0" dirty="0" err="1">
                <a:solidFill>
                  <a:srgbClr val="FFFFFF"/>
                </a:solidFill>
                <a:latin typeface="Objectivity Ligh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741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353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273370"/>
              </a:gs>
              <a:gs pos="100000">
                <a:srgbClr val="010103"/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0" i="0" dirty="0">
              <a:latin typeface="Objectivity Light" pitchFamily="2" charset="77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6189171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66730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3826333"/>
            <a:ext cx="10764836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chemeClr val="bg1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567201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95325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5325" y="3826333"/>
            <a:ext cx="10764836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80806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42776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383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C58E1BF-5AA8-2C40-974E-F98022B05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2763"/>
            <a:ext cx="10764836" cy="679543"/>
          </a:xfrm>
        </p:spPr>
        <p:txBody>
          <a:bodyPr lIns="0" tIns="0" rIns="0" bIns="0" anchor="t" anchorCtr="0">
            <a:noAutofit/>
          </a:bodyPr>
          <a:lstStyle>
            <a:lvl1pPr>
              <a:defRPr sz="2400" b="0" i="0">
                <a:solidFill>
                  <a:srgbClr val="FFFFFF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ar-SA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25941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95325" y="2148233"/>
            <a:ext cx="2819400" cy="26211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0" i="0" dirty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749091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lank green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025425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90CEA-B65A-F641-B3A5-8872C9E8F12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8AC25735-C40C-8D48-B12D-D817BB2FA353}"/>
              </a:ext>
            </a:extLst>
          </p:cNvPr>
          <p:cNvGrpSpPr/>
          <p:nvPr userDrawn="1"/>
        </p:nvGrpSpPr>
        <p:grpSpPr>
          <a:xfrm flipH="1">
            <a:off x="5312377" y="-201273"/>
            <a:ext cx="7452637" cy="7423626"/>
            <a:chOff x="-352927" y="-204202"/>
            <a:chExt cx="7452637" cy="7423626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F5DC386-4E20-FF40-AB2A-ACDA5700EF63}"/>
                </a:ext>
              </a:extLst>
            </p:cNvPr>
            <p:cNvSpPr/>
            <p:nvPr/>
          </p:nvSpPr>
          <p:spPr>
            <a:xfrm>
              <a:off x="-71958" y="-108637"/>
              <a:ext cx="6350804" cy="6993979"/>
            </a:xfrm>
            <a:custGeom>
              <a:avLst/>
              <a:gdLst>
                <a:gd name="connsiteX0" fmla="*/ 6025221 w 6350804"/>
                <a:gd name="connsiteY0" fmla="*/ 5225441 h 6993979"/>
                <a:gd name="connsiteX1" fmla="*/ 4256418 w 6350804"/>
                <a:gd name="connsiteY1" fmla="*/ 6993980 h 6993979"/>
                <a:gd name="connsiteX2" fmla="*/ 0 w 6350804"/>
                <a:gd name="connsiteY2" fmla="*/ 6993980 h 6993979"/>
                <a:gd name="connsiteX3" fmla="*/ 0 w 6350804"/>
                <a:gd name="connsiteY3" fmla="*/ 0 h 6993979"/>
                <a:gd name="connsiteX4" fmla="*/ 2373267 w 6350804"/>
                <a:gd name="connsiteY4" fmla="*/ 0 h 6993979"/>
                <a:gd name="connsiteX5" fmla="*/ 6025221 w 6350804"/>
                <a:gd name="connsiteY5" fmla="*/ 3651050 h 6993979"/>
                <a:gd name="connsiteX6" fmla="*/ 6025221 w 6350804"/>
                <a:gd name="connsiteY6" fmla="*/ 5225441 h 699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0804" h="6993979">
                  <a:moveTo>
                    <a:pt x="6025221" y="5225441"/>
                  </a:moveTo>
                  <a:lnTo>
                    <a:pt x="4256418" y="6993980"/>
                  </a:lnTo>
                  <a:lnTo>
                    <a:pt x="0" y="6993980"/>
                  </a:lnTo>
                  <a:lnTo>
                    <a:pt x="0" y="0"/>
                  </a:lnTo>
                  <a:lnTo>
                    <a:pt x="2373267" y="0"/>
                  </a:lnTo>
                  <a:lnTo>
                    <a:pt x="6025221" y="3651050"/>
                  </a:lnTo>
                  <a:cubicBezTo>
                    <a:pt x="6459332" y="4086100"/>
                    <a:pt x="6459332" y="4790392"/>
                    <a:pt x="6025221" y="5225441"/>
                  </a:cubicBezTo>
                  <a:close/>
                </a:path>
              </a:pathLst>
            </a:custGeom>
            <a:blipFill dpi="0" rotWithShape="1">
              <a:blip r:embed="rId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5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 dirty="0"/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9CAA795-952A-4C4E-8FF3-E8F422FC0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-88000" y="-145215"/>
              <a:ext cx="6350804" cy="7020094"/>
            </a:xfrm>
            <a:prstGeom prst="rect">
              <a:avLst/>
            </a:prstGeom>
          </p:spPr>
        </p:pic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3D6FFA2E-FB04-8E47-9F82-EEA26247CE95}"/>
                </a:ext>
              </a:extLst>
            </p:cNvPr>
            <p:cNvSpPr/>
            <p:nvPr/>
          </p:nvSpPr>
          <p:spPr>
            <a:xfrm>
              <a:off x="-71958" y="3338197"/>
              <a:ext cx="2226233" cy="3547144"/>
            </a:xfrm>
            <a:custGeom>
              <a:avLst/>
              <a:gdLst>
                <a:gd name="connsiteX0" fmla="*/ 1782107 w 2226233"/>
                <a:gd name="connsiteY0" fmla="*/ 1781842 h 3547144"/>
                <a:gd name="connsiteX1" fmla="*/ 0 w 2226233"/>
                <a:gd name="connsiteY1" fmla="*/ 0 h 3547144"/>
                <a:gd name="connsiteX2" fmla="*/ 0 w 2226233"/>
                <a:gd name="connsiteY2" fmla="*/ 1144032 h 3547144"/>
                <a:gd name="connsiteX3" fmla="*/ 1210006 w 2226233"/>
                <a:gd name="connsiteY3" fmla="*/ 2353857 h 3547144"/>
                <a:gd name="connsiteX4" fmla="*/ 1210006 w 2226233"/>
                <a:gd name="connsiteY4" fmla="*/ 3356593 h 3547144"/>
                <a:gd name="connsiteX5" fmla="*/ 1019426 w 2226233"/>
                <a:gd name="connsiteY5" fmla="*/ 3547145 h 3547144"/>
                <a:gd name="connsiteX6" fmla="*/ 2060067 w 2226233"/>
                <a:gd name="connsiteY6" fmla="*/ 3547145 h 3547144"/>
                <a:gd name="connsiteX7" fmla="*/ 1782107 w 2226233"/>
                <a:gd name="connsiteY7" fmla="*/ 1781841 h 354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6233" h="3547144">
                  <a:moveTo>
                    <a:pt x="1782107" y="1781842"/>
                  </a:moveTo>
                  <a:lnTo>
                    <a:pt x="0" y="0"/>
                  </a:lnTo>
                  <a:lnTo>
                    <a:pt x="0" y="1144032"/>
                  </a:lnTo>
                  <a:lnTo>
                    <a:pt x="1210006" y="2353857"/>
                  </a:lnTo>
                  <a:cubicBezTo>
                    <a:pt x="1486573" y="2630909"/>
                    <a:pt x="1486573" y="3079541"/>
                    <a:pt x="1210006" y="3356593"/>
                  </a:cubicBezTo>
                  <a:lnTo>
                    <a:pt x="1019426" y="3547145"/>
                  </a:lnTo>
                  <a:lnTo>
                    <a:pt x="2060067" y="3547145"/>
                  </a:lnTo>
                  <a:cubicBezTo>
                    <a:pt x="2359305" y="2960579"/>
                    <a:pt x="2247121" y="2248106"/>
                    <a:pt x="1782107" y="1781841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35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/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3ECFB4EA-1FC3-934B-A09E-B975E8BF1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-352927" y="-204202"/>
              <a:ext cx="6631773" cy="7423626"/>
            </a:xfrm>
            <a:prstGeom prst="rect">
              <a:avLst/>
            </a:prstGeom>
          </p:spPr>
        </p:pic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3665B4D-5E62-5640-B2A9-DF84EF56EF82}"/>
                </a:ext>
              </a:extLst>
            </p:cNvPr>
            <p:cNvSpPr/>
            <p:nvPr/>
          </p:nvSpPr>
          <p:spPr>
            <a:xfrm>
              <a:off x="1727780" y="-52762"/>
              <a:ext cx="5371930" cy="6927642"/>
            </a:xfrm>
            <a:custGeom>
              <a:avLst/>
              <a:gdLst>
                <a:gd name="connsiteX0" fmla="*/ 1012587 w 5371930"/>
                <a:gd name="connsiteY0" fmla="*/ 2566721 h 6927642"/>
                <a:gd name="connsiteX1" fmla="*/ 1012587 w 5371930"/>
                <a:gd name="connsiteY1" fmla="*/ 1579536 h 6927642"/>
                <a:gd name="connsiteX2" fmla="*/ 2591670 w 5371930"/>
                <a:gd name="connsiteY2" fmla="*/ 0 h 6927642"/>
                <a:gd name="connsiteX3" fmla="*/ 2580503 w 5371930"/>
                <a:gd name="connsiteY3" fmla="*/ 0 h 6927642"/>
                <a:gd name="connsiteX4" fmla="*/ 1006937 w 5371930"/>
                <a:gd name="connsiteY4" fmla="*/ 1573819 h 6927642"/>
                <a:gd name="connsiteX5" fmla="*/ 1006937 w 5371930"/>
                <a:gd name="connsiteY5" fmla="*/ 2572569 h 6927642"/>
                <a:gd name="connsiteX6" fmla="*/ 5360763 w 5371930"/>
                <a:gd name="connsiteY6" fmla="*/ 6927643 h 6927642"/>
                <a:gd name="connsiteX7" fmla="*/ 5371931 w 5371930"/>
                <a:gd name="connsiteY7" fmla="*/ 6927643 h 6927642"/>
                <a:gd name="connsiteX8" fmla="*/ 446156 w 5371930"/>
                <a:gd name="connsiteY8" fmla="*/ 1012877 h 6927642"/>
                <a:gd name="connsiteX9" fmla="*/ 1458939 w 5371930"/>
                <a:gd name="connsiteY9" fmla="*/ 0 h 6927642"/>
                <a:gd name="connsiteX10" fmla="*/ 1447509 w 5371930"/>
                <a:gd name="connsiteY10" fmla="*/ 0 h 6927642"/>
                <a:gd name="connsiteX11" fmla="*/ 440638 w 5371930"/>
                <a:gd name="connsiteY11" fmla="*/ 1007357 h 6927642"/>
                <a:gd name="connsiteX12" fmla="*/ 440638 w 5371930"/>
                <a:gd name="connsiteY12" fmla="*/ 3139097 h 6927642"/>
                <a:gd name="connsiteX13" fmla="*/ 4228033 w 5371930"/>
                <a:gd name="connsiteY13" fmla="*/ 6927512 h 6927642"/>
                <a:gd name="connsiteX14" fmla="*/ 4239266 w 5371930"/>
                <a:gd name="connsiteY14" fmla="*/ 6927512 h 6927642"/>
                <a:gd name="connsiteX15" fmla="*/ 446156 w 5371930"/>
                <a:gd name="connsiteY15" fmla="*/ 3133380 h 6927642"/>
                <a:gd name="connsiteX16" fmla="*/ 446156 w 5371930"/>
                <a:gd name="connsiteY16" fmla="*/ 1012877 h 692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71930" h="6927642">
                  <a:moveTo>
                    <a:pt x="1012587" y="2566721"/>
                  </a:moveTo>
                  <a:cubicBezTo>
                    <a:pt x="740617" y="2293885"/>
                    <a:pt x="740617" y="1852372"/>
                    <a:pt x="1012587" y="1579536"/>
                  </a:cubicBezTo>
                  <a:lnTo>
                    <a:pt x="2591670" y="0"/>
                  </a:lnTo>
                  <a:lnTo>
                    <a:pt x="2580503" y="0"/>
                  </a:lnTo>
                  <a:lnTo>
                    <a:pt x="1006937" y="1573819"/>
                  </a:lnTo>
                  <a:cubicBezTo>
                    <a:pt x="731618" y="1849783"/>
                    <a:pt x="731618" y="2296605"/>
                    <a:pt x="1006937" y="2572569"/>
                  </a:cubicBezTo>
                  <a:lnTo>
                    <a:pt x="5360763" y="6927643"/>
                  </a:lnTo>
                  <a:lnTo>
                    <a:pt x="5371931" y="6927643"/>
                  </a:lnTo>
                  <a:close/>
                  <a:moveTo>
                    <a:pt x="446156" y="1012877"/>
                  </a:moveTo>
                  <a:lnTo>
                    <a:pt x="1458939" y="0"/>
                  </a:lnTo>
                  <a:lnTo>
                    <a:pt x="1447509" y="0"/>
                  </a:lnTo>
                  <a:lnTo>
                    <a:pt x="440638" y="1007357"/>
                  </a:lnTo>
                  <a:cubicBezTo>
                    <a:pt x="-146879" y="1594846"/>
                    <a:pt x="-146879" y="2551477"/>
                    <a:pt x="440638" y="3139097"/>
                  </a:cubicBezTo>
                  <a:lnTo>
                    <a:pt x="4228033" y="6927512"/>
                  </a:lnTo>
                  <a:lnTo>
                    <a:pt x="4239266" y="6927512"/>
                  </a:lnTo>
                  <a:lnTo>
                    <a:pt x="446156" y="3133380"/>
                  </a:lnTo>
                  <a:cubicBezTo>
                    <a:pt x="-138143" y="2548717"/>
                    <a:pt x="-138143" y="1597474"/>
                    <a:pt x="446156" y="1012877"/>
                  </a:cubicBezTo>
                  <a:close/>
                </a:path>
              </a:pathLst>
            </a:custGeom>
            <a:noFill/>
            <a:ln w="9853" cap="flat">
              <a:solidFill>
                <a:srgbClr val="FE823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SA"/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70E91D29-C85F-E548-AD3B-4197A38F9311}"/>
              </a:ext>
            </a:extLst>
          </p:cNvPr>
          <p:cNvSpPr txBox="1">
            <a:spLocks/>
          </p:cNvSpPr>
          <p:nvPr userDrawn="1"/>
        </p:nvSpPr>
        <p:spPr>
          <a:xfrm>
            <a:off x="695325" y="3013501"/>
            <a:ext cx="540067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6000" b="0" i="0" dirty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hank you</a:t>
            </a:r>
            <a:endParaRPr lang="ar-SA" sz="6000" b="0" i="0" dirty="0">
              <a:solidFill>
                <a:schemeClr val="tx2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620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662396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04890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765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1BE9CA4-DAD2-FF48-A729-547A9CF8A2CD}"/>
              </a:ext>
            </a:extLst>
          </p:cNvPr>
          <p:cNvSpPr txBox="1">
            <a:spLocks/>
          </p:cNvSpPr>
          <p:nvPr userDrawn="1"/>
        </p:nvSpPr>
        <p:spPr>
          <a:xfrm>
            <a:off x="695325" y="3013501"/>
            <a:ext cx="540067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60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hank you</a:t>
            </a:r>
            <a:endParaRPr lang="ar-SA" sz="60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1" name="Isosceles Triangle 10"/>
          <p:cNvSpPr/>
          <p:nvPr userDrawn="1"/>
        </p:nvSpPr>
        <p:spPr>
          <a:xfrm>
            <a:off x="7395884" y="4078941"/>
            <a:ext cx="4794997" cy="2779059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7337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 err="1">
              <a:solidFill>
                <a:srgbClr val="FFFFFF"/>
              </a:solidFill>
              <a:latin typeface="Objectivity Light" pitchFamily="2" charset="77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971" y="5773271"/>
            <a:ext cx="1829511" cy="64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18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0" i="0" dirty="0"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0" i="0" dirty="0">
                  <a:latin typeface="Objectivity Light" pitchFamily="2" charset="77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Objectivity Light" pitchFamily="2" charset="77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Objectivity Light" pitchFamily="2" charset="77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Objectivity Light" pitchFamily="2" charset="77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116"/>
            <a:ext cx="2743200" cy="9848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11984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230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b="0" i="0" dirty="0">
              <a:solidFill>
                <a:srgbClr val="FFFFFF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09574" y="1115416"/>
            <a:ext cx="2888932" cy="883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400957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327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2667709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924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82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148747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532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116"/>
            <a:ext cx="2743200" cy="9848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Presentation10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95325" y="3207715"/>
            <a:ext cx="1547143" cy="9491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4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807134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269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09574" y="1115416"/>
            <a:ext cx="2888932" cy="883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0" i="0" dirty="0">
                <a:solidFill>
                  <a:srgbClr val="273370">
                    <a:lumMod val="100000"/>
                  </a:srgb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5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45471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863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b="0" i="0" dirty="0">
              <a:solidFill>
                <a:srgbClr val="273370">
                  <a:lumMod val="100000"/>
                </a:srgb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2373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90CEA-B65A-F641-B3A5-8872C9E8F12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CF70E9A-73B9-1149-A361-6E9C31E27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6" y="1360173"/>
            <a:ext cx="5400674" cy="1994624"/>
          </a:xfrm>
        </p:spPr>
        <p:txBody>
          <a:bodyPr lIns="0" tIns="0" rIns="0" bIns="0" anchor="b">
            <a:noAutofit/>
          </a:bodyPr>
          <a:lstStyle>
            <a:lvl1pPr algn="l" rtl="0">
              <a:defRPr sz="4400" b="0" i="0" baseline="0">
                <a:solidFill>
                  <a:schemeClr val="tx2"/>
                </a:solidFill>
                <a:latin typeface="Objectivity Ligh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Presentation title goes here</a:t>
            </a:r>
            <a:endParaRPr lang="ar-SA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C17D5DE-3268-F54F-9782-DE1A241738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510540"/>
            <a:ext cx="5400675" cy="863751"/>
          </a:xfrm>
        </p:spPr>
        <p:txBody>
          <a:bodyPr lIns="0" tIns="0" rIns="0" bIns="0">
            <a:noAutofit/>
          </a:bodyPr>
          <a:lstStyle>
            <a:lvl1pPr marL="0" indent="0" algn="l" rtl="0">
              <a:buNone/>
              <a:defRPr sz="2400" b="0" i="0">
                <a:solidFill>
                  <a:schemeClr val="tx1"/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 goes here</a:t>
            </a:r>
            <a:endParaRPr lang="ar-SA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2C028544-F17E-CA44-A148-B6F977399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586286"/>
            <a:ext cx="5400675" cy="365125"/>
          </a:xfrm>
        </p:spPr>
        <p:txBody>
          <a:bodyPr/>
          <a:lstStyle>
            <a:lvl1pPr algn="l" rtl="0">
              <a:defRPr sz="1800" b="0" i="0">
                <a:solidFill>
                  <a:schemeClr val="tx1"/>
                </a:solidFill>
                <a:latin typeface="Objectivity Light" pitchFamily="2" charset="77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C95C443-B09E-5E43-8DB8-262D2AC89D74}"/>
              </a:ext>
            </a:extLst>
          </p:cNvPr>
          <p:cNvGrpSpPr/>
          <p:nvPr userDrawn="1"/>
        </p:nvGrpSpPr>
        <p:grpSpPr>
          <a:xfrm flipH="1">
            <a:off x="4297811" y="-4001376"/>
            <a:ext cx="8526368" cy="10894101"/>
            <a:chOff x="-592246" y="-4001376"/>
            <a:chExt cx="8526368" cy="1089410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DB9A693-49F7-FA4E-93B7-642B41BF07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592246" y="-4001376"/>
              <a:ext cx="4902200" cy="6807200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8AA8F111-0D1C-0A42-A0F3-C2E5AAA79B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0" y="34725"/>
              <a:ext cx="7934122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810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059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400" b="0" i="0" dirty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53349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762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b="0" i="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116"/>
            <a:ext cx="2743200" cy="9848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Presentation10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95325" y="3262145"/>
            <a:ext cx="1412246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FFFFFF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1773155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01010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098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b="0" i="0" dirty="0">
              <a:solidFill>
                <a:prstClr val="white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95325" y="2148233"/>
            <a:ext cx="2819400" cy="26211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0" i="0" dirty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79161" y="646197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 b="0" i="0" dirty="0">
                <a:solidFill>
                  <a:srgbClr val="8C8C8C"/>
                </a:solidFill>
                <a:latin typeface="Objectivity Light" pitchFamily="2" charset="77"/>
                <a:ea typeface="+mn-ea"/>
                <a:cs typeface="Arial" panose="020B0604020202020204" pitchFamily="34" charset="0"/>
                <a:sym typeface="+mn-lt"/>
              </a:rPr>
              <a:t>Presentation10</a:t>
            </a:r>
          </a:p>
        </p:txBody>
      </p:sp>
    </p:spTree>
    <p:extLst>
      <p:ext uri="{BB962C8B-B14F-4D97-AF65-F5344CB8AC3E}">
        <p14:creationId xmlns:p14="http://schemas.microsoft.com/office/powerpoint/2010/main" val="3609885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1" eaLnBrk="1">
              <a:lnSpc>
                <a:spcPct val="90000"/>
              </a:lnSpc>
              <a:spcAft>
                <a:spcPts val="1000"/>
              </a:spcAft>
            </a:pPr>
            <a:endParaRPr lang="ar-SA" sz="4400" b="0" i="0" baseline="0" dirty="0" err="1">
              <a:solidFill>
                <a:srgbClr val="FFFFFF"/>
              </a:solidFill>
              <a:latin typeface="DIN Next LT Arabic Light" panose="020B0303020203050203" pitchFamily="34" charset="-78"/>
              <a:ea typeface="+mj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90CEA-B65A-F641-B3A5-8872C9E8F12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74" y="463574"/>
            <a:ext cx="2038927" cy="714868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C95C443-B09E-5E43-8DB8-262D2AC89D74}"/>
              </a:ext>
            </a:extLst>
          </p:cNvPr>
          <p:cNvGrpSpPr/>
          <p:nvPr userDrawn="1"/>
        </p:nvGrpSpPr>
        <p:grpSpPr>
          <a:xfrm flipH="1">
            <a:off x="4297811" y="-4001376"/>
            <a:ext cx="8526368" cy="10894101"/>
            <a:chOff x="-592246" y="-4001376"/>
            <a:chExt cx="8526368" cy="1089410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DB9A693-49F7-FA4E-93B7-642B41BF07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-592246" y="-4001376"/>
              <a:ext cx="4902200" cy="6807200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8AA8F111-0D1C-0A42-A0F3-C2E5AAA79B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0" y="34725"/>
              <a:ext cx="7934122" cy="6858000"/>
            </a:xfrm>
            <a:prstGeom prst="rect">
              <a:avLst/>
            </a:prstGeom>
          </p:spPr>
        </p:pic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D7F4697F-D228-FF4D-842F-74A51D693C11}"/>
              </a:ext>
            </a:extLst>
          </p:cNvPr>
          <p:cNvSpPr txBox="1">
            <a:spLocks/>
          </p:cNvSpPr>
          <p:nvPr userDrawn="1"/>
        </p:nvSpPr>
        <p:spPr>
          <a:xfrm>
            <a:off x="695325" y="3013501"/>
            <a:ext cx="540067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6000" b="0" i="0" dirty="0">
                <a:solidFill>
                  <a:schemeClr val="tx2"/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t>Thank you</a:t>
            </a:r>
            <a:endParaRPr lang="ar-SA" sz="6000" b="0" i="0" dirty="0">
              <a:solidFill>
                <a:schemeClr val="tx2"/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380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theme" Target="../theme/theme1.xml"/><Relationship Id="rId8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3180312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87" imgW="270" imgH="270" progId="TCLayout.ActiveDocument.1">
                  <p:embed/>
                </p:oleObj>
              </mc:Choice>
              <mc:Fallback>
                <p:oleObj name="think-cell Slide" r:id="rId8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8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73370"/>
          </a:solidFill>
          <a:ln w="9525" cap="rnd" cmpd="sng" algn="ctr">
            <a:solidFill>
              <a:srgbClr val="27337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Objectivity Light" pitchFamily="2" charset="77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61969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95325" y="622800"/>
            <a:ext cx="10764837" cy="33759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95325" y="1620000"/>
            <a:ext cx="10764837" cy="4617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079161" y="6461969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0" i="0" kern="1200" smtClean="0">
                <a:solidFill>
                  <a:schemeClr val="bg1">
                    <a:lumMod val="50000"/>
                  </a:schemeClr>
                </a:solidFill>
                <a:latin typeface="Objectivity Light" pitchFamily="2" charset="77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0" i="0" kern="1200" dirty="0">
              <a:solidFill>
                <a:schemeClr val="bg1">
                  <a:lumMod val="50000"/>
                </a:schemeClr>
              </a:solidFill>
              <a:latin typeface="Objectivity Light" pitchFamily="2" charset="77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29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6" r:id="rId1"/>
    <p:sldLayoutId id="2147485579" r:id="rId2"/>
    <p:sldLayoutId id="2147485580" r:id="rId3"/>
    <p:sldLayoutId id="2147485581" r:id="rId4"/>
    <p:sldLayoutId id="2147485582" r:id="rId5"/>
    <p:sldLayoutId id="2147485583" r:id="rId6"/>
    <p:sldLayoutId id="2147485584" r:id="rId7"/>
    <p:sldLayoutId id="2147485585" r:id="rId8"/>
    <p:sldLayoutId id="2147485586" r:id="rId9"/>
    <p:sldLayoutId id="2147485587" r:id="rId10"/>
    <p:sldLayoutId id="2147485501" r:id="rId11"/>
    <p:sldLayoutId id="2147485502" r:id="rId12"/>
    <p:sldLayoutId id="2147485503" r:id="rId13"/>
    <p:sldLayoutId id="2147485505" r:id="rId14"/>
    <p:sldLayoutId id="2147485508" r:id="rId15"/>
    <p:sldLayoutId id="2147485510" r:id="rId16"/>
    <p:sldLayoutId id="2147485511" r:id="rId17"/>
    <p:sldLayoutId id="2147485512" r:id="rId18"/>
    <p:sldLayoutId id="2147485513" r:id="rId19"/>
    <p:sldLayoutId id="2147485514" r:id="rId20"/>
    <p:sldLayoutId id="2147485515" r:id="rId21"/>
    <p:sldLayoutId id="2147485516" r:id="rId22"/>
    <p:sldLayoutId id="2147485589" r:id="rId23"/>
    <p:sldLayoutId id="2147485517" r:id="rId24"/>
    <p:sldLayoutId id="2147485518" r:id="rId25"/>
    <p:sldLayoutId id="2147485519" r:id="rId26"/>
    <p:sldLayoutId id="2147485520" r:id="rId27"/>
    <p:sldLayoutId id="2147485521" r:id="rId28"/>
    <p:sldLayoutId id="2147485522" r:id="rId29"/>
    <p:sldLayoutId id="2147485523" r:id="rId30"/>
    <p:sldLayoutId id="2147485524" r:id="rId31"/>
    <p:sldLayoutId id="2147485525" r:id="rId32"/>
    <p:sldLayoutId id="2147485526" r:id="rId33"/>
    <p:sldLayoutId id="2147485527" r:id="rId34"/>
    <p:sldLayoutId id="2147485528" r:id="rId35"/>
    <p:sldLayoutId id="2147485529" r:id="rId36"/>
    <p:sldLayoutId id="2147485530" r:id="rId37"/>
    <p:sldLayoutId id="2147485531" r:id="rId38"/>
    <p:sldLayoutId id="2147485532" r:id="rId39"/>
    <p:sldLayoutId id="2147485533" r:id="rId40"/>
    <p:sldLayoutId id="2147485534" r:id="rId41"/>
    <p:sldLayoutId id="2147485535" r:id="rId42"/>
    <p:sldLayoutId id="2147485536" r:id="rId43"/>
    <p:sldLayoutId id="2147485577" r:id="rId44"/>
    <p:sldLayoutId id="2147485538" r:id="rId45"/>
    <p:sldLayoutId id="2147485539" r:id="rId46"/>
    <p:sldLayoutId id="2147485540" r:id="rId47"/>
    <p:sldLayoutId id="2147485541" r:id="rId48"/>
    <p:sldLayoutId id="2147485542" r:id="rId49"/>
    <p:sldLayoutId id="2147485543" r:id="rId50"/>
    <p:sldLayoutId id="2147485544" r:id="rId51"/>
    <p:sldLayoutId id="2147485545" r:id="rId52"/>
    <p:sldLayoutId id="2147485546" r:id="rId53"/>
    <p:sldLayoutId id="2147485547" r:id="rId54"/>
    <p:sldLayoutId id="2147485548" r:id="rId55"/>
    <p:sldLayoutId id="2147485549" r:id="rId56"/>
    <p:sldLayoutId id="2147485550" r:id="rId57"/>
    <p:sldLayoutId id="2147485551" r:id="rId58"/>
    <p:sldLayoutId id="2147485552" r:id="rId59"/>
    <p:sldLayoutId id="2147485553" r:id="rId60"/>
    <p:sldLayoutId id="2147485554" r:id="rId61"/>
    <p:sldLayoutId id="2147485555" r:id="rId62"/>
    <p:sldLayoutId id="2147485556" r:id="rId63"/>
    <p:sldLayoutId id="2147485557" r:id="rId64"/>
    <p:sldLayoutId id="2147485558" r:id="rId65"/>
    <p:sldLayoutId id="2147485559" r:id="rId66"/>
    <p:sldLayoutId id="2147485560" r:id="rId67"/>
    <p:sldLayoutId id="2147485561" r:id="rId68"/>
    <p:sldLayoutId id="2147485562" r:id="rId69"/>
    <p:sldLayoutId id="2147485563" r:id="rId70"/>
    <p:sldLayoutId id="2147485564" r:id="rId71"/>
    <p:sldLayoutId id="2147485565" r:id="rId72"/>
    <p:sldLayoutId id="2147485566" r:id="rId73"/>
    <p:sldLayoutId id="2147485567" r:id="rId74"/>
    <p:sldLayoutId id="2147485568" r:id="rId75"/>
    <p:sldLayoutId id="2147485569" r:id="rId76"/>
    <p:sldLayoutId id="2147485570" r:id="rId77"/>
    <p:sldLayoutId id="2147485571" r:id="rId78"/>
    <p:sldLayoutId id="2147485572" r:id="rId79"/>
    <p:sldLayoutId id="2147485573" r:id="rId80"/>
    <p:sldLayoutId id="2147485574" r:id="rId81"/>
    <p:sldLayoutId id="2147485575" r:id="rId8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2"/>
          </a:solidFill>
          <a:latin typeface="Objectivity Light" pitchFamily="2" charset="77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b="0" i="0" kern="1200">
          <a:solidFill>
            <a:schemeClr val="tx1"/>
          </a:solidFill>
          <a:latin typeface="Objectivity Light" pitchFamily="2" charset="77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b="0" i="0" kern="1200">
          <a:solidFill>
            <a:schemeClr val="tx1"/>
          </a:solidFill>
          <a:latin typeface="Objectivity Light" pitchFamily="2" charset="77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b="0" i="0" kern="1200">
          <a:solidFill>
            <a:schemeClr val="tx1"/>
          </a:solidFill>
          <a:latin typeface="Objectivity Light" pitchFamily="2" charset="77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b="0" i="0" kern="1200">
          <a:solidFill>
            <a:schemeClr val="tx2"/>
          </a:solidFill>
          <a:latin typeface="Objectivity Light" pitchFamily="2" charset="77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0" i="0" kern="1200" smtClean="0">
          <a:solidFill>
            <a:schemeClr val="tx1"/>
          </a:solidFill>
          <a:latin typeface="Objectivity Light" pitchFamily="2" charset="77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b="0" i="0" kern="1200" smtClean="0">
          <a:solidFill>
            <a:schemeClr val="tx1"/>
          </a:solidFill>
          <a:latin typeface="Objectivity Light" pitchFamily="2" charset="77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b="0" i="0" kern="1200" baseline="0" smtClean="0">
          <a:solidFill>
            <a:schemeClr val="tx1"/>
          </a:solidFill>
          <a:latin typeface="Objectivity Light" pitchFamily="2" charset="77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b="0" i="0" kern="1200" baseline="0" smtClean="0">
          <a:solidFill>
            <a:schemeClr val="tx2"/>
          </a:solidFill>
          <a:latin typeface="Objectivity Light" pitchFamily="2" charset="77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b="0" i="0" kern="1200" baseline="0" dirty="0">
          <a:solidFill>
            <a:schemeClr val="tx2"/>
          </a:solidFill>
          <a:latin typeface="Objectivity Light" pitchFamily="2" charset="77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6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50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97B21-94ED-634D-881A-0870A2857A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 Cleaning for Textual Documents using NLP</a:t>
            </a:r>
            <a:endParaRPr lang="en-S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69A3FE-6A57-3D41-8089-F79660D8E4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325" y="3824286"/>
            <a:ext cx="5400675" cy="365125"/>
          </a:xfrm>
        </p:spPr>
        <p:txBody>
          <a:bodyPr/>
          <a:lstStyle/>
          <a:p>
            <a:r>
              <a:rPr lang="en-US" dirty="0"/>
              <a:t>By: </a:t>
            </a:r>
            <a:r>
              <a:rPr lang="en-US"/>
              <a:t>Alanoud AlHwaireny</a:t>
            </a:r>
            <a:endParaRPr lang="en-US" dirty="0"/>
          </a:p>
          <a:p>
            <a:r>
              <a:rPr lang="en-US" dirty="0" err="1"/>
              <a:t>Lubna</a:t>
            </a:r>
            <a:r>
              <a:rPr lang="en-US" dirty="0"/>
              <a:t> </a:t>
            </a:r>
            <a:r>
              <a:rPr lang="en-US" dirty="0" err="1"/>
              <a:t>AlMoammar</a:t>
            </a:r>
            <a:endParaRPr lang="en-US" dirty="0"/>
          </a:p>
          <a:p>
            <a:r>
              <a:rPr lang="en-US" dirty="0"/>
              <a:t>Raghad </a:t>
            </a:r>
            <a:r>
              <a:rPr lang="en-US" dirty="0" err="1"/>
              <a:t>AlKhudair</a:t>
            </a:r>
            <a:endParaRPr lang="en-US" dirty="0"/>
          </a:p>
          <a:p>
            <a:r>
              <a:rPr lang="en-US" dirty="0"/>
              <a:t>Shahad </a:t>
            </a:r>
            <a:r>
              <a:rPr lang="en-US" dirty="0" err="1"/>
              <a:t>AlAmeel</a:t>
            </a:r>
            <a:endParaRPr lang="en-US" dirty="0"/>
          </a:p>
          <a:p>
            <a:endParaRPr lang="en-SA" dirty="0"/>
          </a:p>
        </p:txBody>
      </p:sp>
    </p:spTree>
    <p:extLst>
      <p:ext uri="{BB962C8B-B14F-4D97-AF65-F5344CB8AC3E}">
        <p14:creationId xmlns:p14="http://schemas.microsoft.com/office/powerpoint/2010/main" val="37353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CB9D45-71CA-41E7-B8E0-AB1B48957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Visualization </a:t>
            </a:r>
            <a:endParaRPr lang="ar-SA" sz="3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7C020C-6761-4F86-B1A2-6C1A2EB139F3}"/>
              </a:ext>
            </a:extLst>
          </p:cNvPr>
          <p:cNvSpPr txBox="1"/>
          <p:nvPr/>
        </p:nvSpPr>
        <p:spPr>
          <a:xfrm>
            <a:off x="3926039" y="5702193"/>
            <a:ext cx="4339921" cy="10351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8C8C8C"/>
                </a:solidFill>
              </a:rPr>
              <a:t>The Cloud words for </a:t>
            </a:r>
            <a:r>
              <a:rPr lang="en-US" b="1" dirty="0">
                <a:solidFill>
                  <a:srgbClr val="8C8C8C"/>
                </a:solidFill>
              </a:rPr>
              <a:t>Comments</a:t>
            </a:r>
            <a:r>
              <a:rPr lang="en-US" dirty="0">
                <a:solidFill>
                  <a:srgbClr val="8C8C8C"/>
                </a:solidFill>
              </a:rPr>
              <a:t> tweets   </a:t>
            </a:r>
            <a:endParaRPr lang="ar-SA" dirty="0" err="1">
              <a:solidFill>
                <a:srgbClr val="8C8C8C"/>
              </a:solidFill>
            </a:endParaRPr>
          </a:p>
        </p:txBody>
      </p:sp>
      <p:pic>
        <p:nvPicPr>
          <p:cNvPr id="4" name="Picture 3" descr="A close-up of a document&#10;&#10;Description automatically generated with medium confidence">
            <a:extLst>
              <a:ext uri="{FF2B5EF4-FFF2-40B4-BE49-F238E27FC236}">
                <a16:creationId xmlns:a16="http://schemas.microsoft.com/office/drawing/2014/main" id="{EEB390DB-DA60-48DF-947F-7B93968D75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7979" y="1392054"/>
            <a:ext cx="8492412" cy="45322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A1A5448-EF69-4742-ABBB-4BB33F7BDA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9375" y="512764"/>
            <a:ext cx="576664" cy="57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21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FE8A8-18FB-E940-B46A-85CBB8C37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381" y="463107"/>
            <a:ext cx="10522113" cy="679543"/>
          </a:xfrm>
        </p:spPr>
        <p:txBody>
          <a:bodyPr/>
          <a:lstStyle/>
          <a:p>
            <a:r>
              <a:rPr lang="en-US" sz="3200" dirty="0">
                <a:solidFill>
                  <a:srgbClr val="3EA798"/>
                </a:solidFill>
              </a:rPr>
              <a:t>Modelling </a:t>
            </a:r>
            <a:endParaRPr lang="en-SA" sz="320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9EDDF2F-5A39-314D-8E99-90B4DA4FE0F2}"/>
              </a:ext>
            </a:extLst>
          </p:cNvPr>
          <p:cNvCxnSpPr/>
          <p:nvPr/>
        </p:nvCxnSpPr>
        <p:spPr>
          <a:xfrm>
            <a:off x="1854294" y="3779257"/>
            <a:ext cx="76803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9CB3A35-4DD0-6C44-A55F-57D6A53F08B8}"/>
              </a:ext>
            </a:extLst>
          </p:cNvPr>
          <p:cNvCxnSpPr/>
          <p:nvPr/>
        </p:nvCxnSpPr>
        <p:spPr>
          <a:xfrm>
            <a:off x="1854294" y="4950316"/>
            <a:ext cx="76803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5DF0ED3-C618-824A-A2C3-0FA1456985CF}"/>
              </a:ext>
            </a:extLst>
          </p:cNvPr>
          <p:cNvSpPr txBox="1"/>
          <p:nvPr/>
        </p:nvSpPr>
        <p:spPr>
          <a:xfrm>
            <a:off x="1845167" y="3026943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21</a:t>
            </a:r>
            <a:endParaRPr lang="ar-SA" b="1" dirty="0">
              <a:solidFill>
                <a:schemeClr val="tx2"/>
              </a:solidFill>
              <a:latin typeface="Objectivity"/>
              <a:cs typeface="DIN Next LT Arabic Light" panose="020B0303020203050203" pitchFamily="34" charset="-78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6D39BE1-5502-6746-A5B7-9748215BB89F}"/>
              </a:ext>
            </a:extLst>
          </p:cNvPr>
          <p:cNvSpPr txBox="1"/>
          <p:nvPr/>
        </p:nvSpPr>
        <p:spPr>
          <a:xfrm>
            <a:off x="1886862" y="4174610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3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0A3694D-6C2F-7746-B25E-ECA88D46C33A}"/>
              </a:ext>
            </a:extLst>
          </p:cNvPr>
          <p:cNvSpPr/>
          <p:nvPr/>
        </p:nvSpPr>
        <p:spPr>
          <a:xfrm>
            <a:off x="8122060" y="2421774"/>
            <a:ext cx="1463675" cy="2062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rgbClr val="3EA798"/>
                </a:solidFill>
                <a:latin typeface="Objectivity Light" pitchFamily="2" charset="77"/>
              </a:rPr>
              <a:t>Neural Networks </a:t>
            </a:r>
            <a:endParaRPr lang="en-US" sz="1600" b="1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6E1BB8E-D87D-3843-A98C-6F53F5FEA7E6}"/>
              </a:ext>
            </a:extLst>
          </p:cNvPr>
          <p:cNvSpPr txBox="1"/>
          <p:nvPr/>
        </p:nvSpPr>
        <p:spPr>
          <a:xfrm>
            <a:off x="3408862" y="4180714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B39A500-7477-DC49-A4C7-99EC13719FC5}"/>
              </a:ext>
            </a:extLst>
          </p:cNvPr>
          <p:cNvSpPr txBox="1"/>
          <p:nvPr/>
        </p:nvSpPr>
        <p:spPr>
          <a:xfrm>
            <a:off x="4981880" y="4160163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34</a:t>
            </a:r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F6EEAFE2-6BC1-BF48-BF1A-F33E45036C68}"/>
              </a:ext>
            </a:extLst>
          </p:cNvPr>
          <p:cNvSpPr>
            <a:spLocks noChangeAspect="1"/>
          </p:cNvSpPr>
          <p:nvPr/>
        </p:nvSpPr>
        <p:spPr>
          <a:xfrm>
            <a:off x="95346" y="5253694"/>
            <a:ext cx="1606550" cy="467142"/>
          </a:xfrm>
          <a:custGeom>
            <a:avLst/>
            <a:gdLst>
              <a:gd name="connsiteX0" fmla="*/ 0 w 1854545"/>
              <a:gd name="connsiteY0" fmla="*/ 0 h 639278"/>
              <a:gd name="connsiteX1" fmla="*/ 1534906 w 1854545"/>
              <a:gd name="connsiteY1" fmla="*/ 0 h 639278"/>
              <a:gd name="connsiteX2" fmla="*/ 1534907 w 1854545"/>
              <a:gd name="connsiteY2" fmla="*/ 0 h 639278"/>
              <a:gd name="connsiteX3" fmla="*/ 1534907 w 1854545"/>
              <a:gd name="connsiteY3" fmla="*/ 0 h 639278"/>
              <a:gd name="connsiteX4" fmla="*/ 1599325 w 1854545"/>
              <a:gd name="connsiteY4" fmla="*/ 6494 h 639278"/>
              <a:gd name="connsiteX5" fmla="*/ 1854545 w 1854545"/>
              <a:gd name="connsiteY5" fmla="*/ 319639 h 639278"/>
              <a:gd name="connsiteX6" fmla="*/ 1534906 w 1854545"/>
              <a:gd name="connsiteY6" fmla="*/ 639278 h 639278"/>
              <a:gd name="connsiteX7" fmla="*/ 1534896 w 1854545"/>
              <a:gd name="connsiteY7" fmla="*/ 639277 h 639278"/>
              <a:gd name="connsiteX8" fmla="*/ 0 w 1854545"/>
              <a:gd name="connsiteY8" fmla="*/ 639277 h 639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54545" h="639278">
                <a:moveTo>
                  <a:pt x="0" y="0"/>
                </a:moveTo>
                <a:lnTo>
                  <a:pt x="1534906" y="0"/>
                </a:lnTo>
                <a:lnTo>
                  <a:pt x="1534907" y="0"/>
                </a:lnTo>
                <a:lnTo>
                  <a:pt x="1534907" y="0"/>
                </a:lnTo>
                <a:lnTo>
                  <a:pt x="1599325" y="6494"/>
                </a:lnTo>
                <a:cubicBezTo>
                  <a:pt x="1744979" y="36299"/>
                  <a:pt x="1854545" y="165174"/>
                  <a:pt x="1854545" y="319639"/>
                </a:cubicBezTo>
                <a:cubicBezTo>
                  <a:pt x="1854545" y="496171"/>
                  <a:pt x="1711438" y="639278"/>
                  <a:pt x="1534906" y="639278"/>
                </a:cubicBezTo>
                <a:lnTo>
                  <a:pt x="1534896" y="639277"/>
                </a:lnTo>
                <a:lnTo>
                  <a:pt x="0" y="639277"/>
                </a:lnTo>
                <a:close/>
              </a:path>
            </a:pathLst>
          </a:cu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1"/>
            <a:r>
              <a:rPr lang="en-US" sz="1400" dirty="0">
                <a:solidFill>
                  <a:srgbClr val="3EA798"/>
                </a:solidFill>
                <a:latin typeface="Objectivity Light" pitchFamily="2" charset="77"/>
              </a:rPr>
              <a:t>Recall </a:t>
            </a:r>
            <a:endParaRPr lang="ar-SA" sz="1400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03F47B50-09E1-0647-8570-6F08C188CC45}"/>
              </a:ext>
            </a:extLst>
          </p:cNvPr>
          <p:cNvSpPr>
            <a:spLocks noChangeAspect="1"/>
          </p:cNvSpPr>
          <p:nvPr/>
        </p:nvSpPr>
        <p:spPr>
          <a:xfrm>
            <a:off x="95346" y="2880476"/>
            <a:ext cx="1606550" cy="467142"/>
          </a:xfrm>
          <a:custGeom>
            <a:avLst/>
            <a:gdLst>
              <a:gd name="connsiteX0" fmla="*/ 0 w 1854545"/>
              <a:gd name="connsiteY0" fmla="*/ 0 h 639278"/>
              <a:gd name="connsiteX1" fmla="*/ 1534906 w 1854545"/>
              <a:gd name="connsiteY1" fmla="*/ 0 h 639278"/>
              <a:gd name="connsiteX2" fmla="*/ 1534907 w 1854545"/>
              <a:gd name="connsiteY2" fmla="*/ 0 h 639278"/>
              <a:gd name="connsiteX3" fmla="*/ 1534907 w 1854545"/>
              <a:gd name="connsiteY3" fmla="*/ 0 h 639278"/>
              <a:gd name="connsiteX4" fmla="*/ 1599325 w 1854545"/>
              <a:gd name="connsiteY4" fmla="*/ 6494 h 639278"/>
              <a:gd name="connsiteX5" fmla="*/ 1854545 w 1854545"/>
              <a:gd name="connsiteY5" fmla="*/ 319639 h 639278"/>
              <a:gd name="connsiteX6" fmla="*/ 1534906 w 1854545"/>
              <a:gd name="connsiteY6" fmla="*/ 639278 h 639278"/>
              <a:gd name="connsiteX7" fmla="*/ 1534896 w 1854545"/>
              <a:gd name="connsiteY7" fmla="*/ 639277 h 639278"/>
              <a:gd name="connsiteX8" fmla="*/ 0 w 1854545"/>
              <a:gd name="connsiteY8" fmla="*/ 639277 h 639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54545" h="639278">
                <a:moveTo>
                  <a:pt x="0" y="0"/>
                </a:moveTo>
                <a:lnTo>
                  <a:pt x="1534906" y="0"/>
                </a:lnTo>
                <a:lnTo>
                  <a:pt x="1534907" y="0"/>
                </a:lnTo>
                <a:lnTo>
                  <a:pt x="1534907" y="0"/>
                </a:lnTo>
                <a:lnTo>
                  <a:pt x="1599325" y="6494"/>
                </a:lnTo>
                <a:cubicBezTo>
                  <a:pt x="1744979" y="36299"/>
                  <a:pt x="1854545" y="165174"/>
                  <a:pt x="1854545" y="319639"/>
                </a:cubicBezTo>
                <a:cubicBezTo>
                  <a:pt x="1854545" y="496171"/>
                  <a:pt x="1711438" y="639278"/>
                  <a:pt x="1534906" y="639278"/>
                </a:cubicBezTo>
                <a:lnTo>
                  <a:pt x="1534896" y="639277"/>
                </a:lnTo>
                <a:lnTo>
                  <a:pt x="0" y="639277"/>
                </a:lnTo>
                <a:close/>
              </a:path>
            </a:pathLst>
          </a:cu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1"/>
            <a:r>
              <a:rPr lang="en-US" sz="1400" dirty="0">
                <a:solidFill>
                  <a:srgbClr val="3EA798"/>
                </a:solidFill>
                <a:latin typeface="Objectivity Light" pitchFamily="2" charset="77"/>
              </a:rPr>
              <a:t>F1 Score </a:t>
            </a:r>
            <a:endParaRPr lang="ar-SA" sz="1400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6" name="Freeform 65">
            <a:extLst>
              <a:ext uri="{FF2B5EF4-FFF2-40B4-BE49-F238E27FC236}">
                <a16:creationId xmlns:a16="http://schemas.microsoft.com/office/drawing/2014/main" id="{CCBE465A-D69D-C945-A8E3-BD6CF298D56C}"/>
              </a:ext>
            </a:extLst>
          </p:cNvPr>
          <p:cNvSpPr>
            <a:spLocks noChangeAspect="1"/>
          </p:cNvSpPr>
          <p:nvPr/>
        </p:nvSpPr>
        <p:spPr>
          <a:xfrm>
            <a:off x="95346" y="4037569"/>
            <a:ext cx="1606550" cy="467142"/>
          </a:xfrm>
          <a:custGeom>
            <a:avLst/>
            <a:gdLst>
              <a:gd name="connsiteX0" fmla="*/ 0 w 1854545"/>
              <a:gd name="connsiteY0" fmla="*/ 0 h 639278"/>
              <a:gd name="connsiteX1" fmla="*/ 1534906 w 1854545"/>
              <a:gd name="connsiteY1" fmla="*/ 0 h 639278"/>
              <a:gd name="connsiteX2" fmla="*/ 1534907 w 1854545"/>
              <a:gd name="connsiteY2" fmla="*/ 0 h 639278"/>
              <a:gd name="connsiteX3" fmla="*/ 1534907 w 1854545"/>
              <a:gd name="connsiteY3" fmla="*/ 0 h 639278"/>
              <a:gd name="connsiteX4" fmla="*/ 1599325 w 1854545"/>
              <a:gd name="connsiteY4" fmla="*/ 6494 h 639278"/>
              <a:gd name="connsiteX5" fmla="*/ 1854545 w 1854545"/>
              <a:gd name="connsiteY5" fmla="*/ 319639 h 639278"/>
              <a:gd name="connsiteX6" fmla="*/ 1534906 w 1854545"/>
              <a:gd name="connsiteY6" fmla="*/ 639278 h 639278"/>
              <a:gd name="connsiteX7" fmla="*/ 1534896 w 1854545"/>
              <a:gd name="connsiteY7" fmla="*/ 639277 h 639278"/>
              <a:gd name="connsiteX8" fmla="*/ 0 w 1854545"/>
              <a:gd name="connsiteY8" fmla="*/ 639277 h 639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54545" h="639278">
                <a:moveTo>
                  <a:pt x="0" y="0"/>
                </a:moveTo>
                <a:lnTo>
                  <a:pt x="1534906" y="0"/>
                </a:lnTo>
                <a:lnTo>
                  <a:pt x="1534907" y="0"/>
                </a:lnTo>
                <a:lnTo>
                  <a:pt x="1534907" y="0"/>
                </a:lnTo>
                <a:lnTo>
                  <a:pt x="1599325" y="6494"/>
                </a:lnTo>
                <a:cubicBezTo>
                  <a:pt x="1744979" y="36299"/>
                  <a:pt x="1854545" y="165174"/>
                  <a:pt x="1854545" y="319639"/>
                </a:cubicBezTo>
                <a:cubicBezTo>
                  <a:pt x="1854545" y="496171"/>
                  <a:pt x="1711438" y="639278"/>
                  <a:pt x="1534906" y="639278"/>
                </a:cubicBezTo>
                <a:lnTo>
                  <a:pt x="1534896" y="639277"/>
                </a:lnTo>
                <a:lnTo>
                  <a:pt x="0" y="639277"/>
                </a:lnTo>
                <a:close/>
              </a:path>
            </a:pathLst>
          </a:cu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1"/>
            <a:r>
              <a:rPr lang="en-US" sz="1400" dirty="0">
                <a:solidFill>
                  <a:srgbClr val="3EA798"/>
                </a:solidFill>
                <a:latin typeface="Objectivity Light" pitchFamily="2" charset="77"/>
              </a:rPr>
              <a:t>Precision  </a:t>
            </a:r>
            <a:endParaRPr lang="ar-SA" sz="1400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C722F15-F122-F943-AF51-A0436FEFDAFF}"/>
              </a:ext>
            </a:extLst>
          </p:cNvPr>
          <p:cNvSpPr/>
          <p:nvPr/>
        </p:nvSpPr>
        <p:spPr>
          <a:xfrm flipH="1">
            <a:off x="28669" y="2880477"/>
            <a:ext cx="452438" cy="4670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r" defTabSz="914400" rtl="1" eaLnBrk="1" latinLnBrk="0" hangingPunct="1"/>
            <a:endParaRPr lang="ar-SA" sz="16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8C7E4AE-ADB7-3A47-8F4E-02A75548AFAD}"/>
              </a:ext>
            </a:extLst>
          </p:cNvPr>
          <p:cNvSpPr/>
          <p:nvPr/>
        </p:nvSpPr>
        <p:spPr>
          <a:xfrm>
            <a:off x="28669" y="4037570"/>
            <a:ext cx="452438" cy="4670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ar-SA" sz="16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815B453-5341-CD41-9CAA-A785168634D3}"/>
              </a:ext>
            </a:extLst>
          </p:cNvPr>
          <p:cNvSpPr/>
          <p:nvPr/>
        </p:nvSpPr>
        <p:spPr>
          <a:xfrm flipH="1">
            <a:off x="28669" y="5418079"/>
            <a:ext cx="452438" cy="4670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ar-SA" sz="16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69CC620-85CF-D747-A310-C2C260A3D632}"/>
              </a:ext>
            </a:extLst>
          </p:cNvPr>
          <p:cNvGrpSpPr>
            <a:grpSpLocks noChangeAspect="1"/>
          </p:cNvGrpSpPr>
          <p:nvPr/>
        </p:nvGrpSpPr>
        <p:grpSpPr>
          <a:xfrm>
            <a:off x="88994" y="2947794"/>
            <a:ext cx="331788" cy="331786"/>
            <a:chOff x="5272088" y="2605088"/>
            <a:chExt cx="1646237" cy="1646237"/>
          </a:xfrm>
        </p:grpSpPr>
        <p:sp>
          <p:nvSpPr>
            <p:cNvPr id="71" name="AutoShape 3">
              <a:extLst>
                <a:ext uri="{FF2B5EF4-FFF2-40B4-BE49-F238E27FC236}">
                  <a16:creationId xmlns:a16="http://schemas.microsoft.com/office/drawing/2014/main" id="{7185714D-EE12-B342-BA02-10785A927C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23D4902-8F6C-A146-8CFA-19E1C0D063C1}"/>
                </a:ext>
              </a:extLst>
            </p:cNvPr>
            <p:cNvGrpSpPr/>
            <p:nvPr/>
          </p:nvGrpSpPr>
          <p:grpSpPr>
            <a:xfrm>
              <a:off x="5645150" y="2887663"/>
              <a:ext cx="898525" cy="1193800"/>
              <a:chOff x="5645150" y="2887663"/>
              <a:chExt cx="898525" cy="1193800"/>
            </a:xfrm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DA0A01BB-004C-F244-863C-09C01F422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887663"/>
                <a:ext cx="898525" cy="1193800"/>
              </a:xfrm>
              <a:custGeom>
                <a:avLst/>
                <a:gdLst>
                  <a:gd name="connsiteX0" fmla="*/ 31750 w 898525"/>
                  <a:gd name="connsiteY0" fmla="*/ 31750 h 1193800"/>
                  <a:gd name="connsiteX1" fmla="*/ 31750 w 898525"/>
                  <a:gd name="connsiteY1" fmla="*/ 1162050 h 1193800"/>
                  <a:gd name="connsiteX2" fmla="*/ 866775 w 898525"/>
                  <a:gd name="connsiteY2" fmla="*/ 1162050 h 1193800"/>
                  <a:gd name="connsiteX3" fmla="*/ 866775 w 898525"/>
                  <a:gd name="connsiteY3" fmla="*/ 31750 h 1193800"/>
                  <a:gd name="connsiteX4" fmla="*/ 15714 w 898525"/>
                  <a:gd name="connsiteY4" fmla="*/ 0 h 1193800"/>
                  <a:gd name="connsiteX5" fmla="*/ 882812 w 898525"/>
                  <a:gd name="connsiteY5" fmla="*/ 0 h 1193800"/>
                  <a:gd name="connsiteX6" fmla="*/ 898525 w 898525"/>
                  <a:gd name="connsiteY6" fmla="*/ 15727 h 1193800"/>
                  <a:gd name="connsiteX7" fmla="*/ 898525 w 898525"/>
                  <a:gd name="connsiteY7" fmla="*/ 1178073 h 1193800"/>
                  <a:gd name="connsiteX8" fmla="*/ 882812 w 898525"/>
                  <a:gd name="connsiteY8" fmla="*/ 1193800 h 1193800"/>
                  <a:gd name="connsiteX9" fmla="*/ 15714 w 898525"/>
                  <a:gd name="connsiteY9" fmla="*/ 1193800 h 1193800"/>
                  <a:gd name="connsiteX10" fmla="*/ 0 w 898525"/>
                  <a:gd name="connsiteY10" fmla="*/ 1178073 h 1193800"/>
                  <a:gd name="connsiteX11" fmla="*/ 0 w 898525"/>
                  <a:gd name="connsiteY11" fmla="*/ 15727 h 1193800"/>
                  <a:gd name="connsiteX12" fmla="*/ 15714 w 898525"/>
                  <a:gd name="connsiteY12" fmla="*/ 0 h 1193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98525" h="1193800">
                    <a:moveTo>
                      <a:pt x="31750" y="31750"/>
                    </a:moveTo>
                    <a:lnTo>
                      <a:pt x="31750" y="1162050"/>
                    </a:lnTo>
                    <a:lnTo>
                      <a:pt x="866775" y="1162050"/>
                    </a:lnTo>
                    <a:lnTo>
                      <a:pt x="866775" y="31750"/>
                    </a:lnTo>
                    <a:close/>
                    <a:moveTo>
                      <a:pt x="15714" y="0"/>
                    </a:moveTo>
                    <a:cubicBezTo>
                      <a:pt x="15714" y="0"/>
                      <a:pt x="15714" y="0"/>
                      <a:pt x="882812" y="0"/>
                    </a:cubicBezTo>
                    <a:cubicBezTo>
                      <a:pt x="892097" y="0"/>
                      <a:pt x="898525" y="7149"/>
                      <a:pt x="898525" y="15727"/>
                    </a:cubicBezTo>
                    <a:cubicBezTo>
                      <a:pt x="898525" y="15727"/>
                      <a:pt x="898525" y="15727"/>
                      <a:pt x="898525" y="1178073"/>
                    </a:cubicBezTo>
                    <a:cubicBezTo>
                      <a:pt x="898525" y="1187367"/>
                      <a:pt x="892097" y="1193800"/>
                      <a:pt x="882812" y="1193800"/>
                    </a:cubicBezTo>
                    <a:cubicBezTo>
                      <a:pt x="882812" y="1193800"/>
                      <a:pt x="882812" y="1193800"/>
                      <a:pt x="15714" y="1193800"/>
                    </a:cubicBezTo>
                    <a:cubicBezTo>
                      <a:pt x="6428" y="1193800"/>
                      <a:pt x="0" y="1187367"/>
                      <a:pt x="0" y="1178073"/>
                    </a:cubicBezTo>
                    <a:cubicBezTo>
                      <a:pt x="0" y="1178073"/>
                      <a:pt x="0" y="1178073"/>
                      <a:pt x="0" y="15727"/>
                    </a:cubicBezTo>
                    <a:cubicBezTo>
                      <a:pt x="0" y="7149"/>
                      <a:pt x="6428" y="0"/>
                      <a:pt x="1571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algn="r" defTabSz="914400" rtl="1" eaLnBrk="1" latinLnBrk="0" hangingPunct="1"/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66EBABA1-0EE4-5C47-9BC2-0F297A3604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7074" y="3074988"/>
                <a:ext cx="576262" cy="820737"/>
              </a:xfrm>
              <a:custGeom>
                <a:avLst/>
                <a:gdLst>
                  <a:gd name="connsiteX0" fmla="*/ 19994 w 576262"/>
                  <a:gd name="connsiteY0" fmla="*/ 781050 h 820737"/>
                  <a:gd name="connsiteX1" fmla="*/ 555554 w 576262"/>
                  <a:gd name="connsiteY1" fmla="*/ 781050 h 820737"/>
                  <a:gd name="connsiteX2" fmla="*/ 574834 w 576262"/>
                  <a:gd name="connsiteY2" fmla="*/ 796641 h 820737"/>
                  <a:gd name="connsiteX3" fmla="*/ 576262 w 576262"/>
                  <a:gd name="connsiteY3" fmla="*/ 802311 h 820737"/>
                  <a:gd name="connsiteX4" fmla="*/ 556268 w 576262"/>
                  <a:gd name="connsiteY4" fmla="*/ 820737 h 820737"/>
                  <a:gd name="connsiteX5" fmla="*/ 19994 w 576262"/>
                  <a:gd name="connsiteY5" fmla="*/ 820737 h 820737"/>
                  <a:gd name="connsiteX6" fmla="*/ 1428 w 576262"/>
                  <a:gd name="connsiteY6" fmla="*/ 807981 h 820737"/>
                  <a:gd name="connsiteX7" fmla="*/ 0 w 576262"/>
                  <a:gd name="connsiteY7" fmla="*/ 800185 h 820737"/>
                  <a:gd name="connsiteX8" fmla="*/ 19994 w 576262"/>
                  <a:gd name="connsiteY8" fmla="*/ 781050 h 820737"/>
                  <a:gd name="connsiteX9" fmla="*/ 19994 w 576262"/>
                  <a:gd name="connsiteY9" fmla="*/ 650875 h 820737"/>
                  <a:gd name="connsiteX10" fmla="*/ 555554 w 576262"/>
                  <a:gd name="connsiteY10" fmla="*/ 650875 h 820737"/>
                  <a:gd name="connsiteX11" fmla="*/ 573406 w 576262"/>
                  <a:gd name="connsiteY11" fmla="*/ 661319 h 820737"/>
                  <a:gd name="connsiteX12" fmla="*/ 576262 w 576262"/>
                  <a:gd name="connsiteY12" fmla="*/ 671067 h 820737"/>
                  <a:gd name="connsiteX13" fmla="*/ 556268 w 576262"/>
                  <a:gd name="connsiteY13" fmla="*/ 690562 h 820737"/>
                  <a:gd name="connsiteX14" fmla="*/ 19994 w 576262"/>
                  <a:gd name="connsiteY14" fmla="*/ 690562 h 820737"/>
                  <a:gd name="connsiteX15" fmla="*/ 4999 w 576262"/>
                  <a:gd name="connsiteY15" fmla="*/ 682903 h 820737"/>
                  <a:gd name="connsiteX16" fmla="*/ 0 w 576262"/>
                  <a:gd name="connsiteY16" fmla="*/ 670370 h 820737"/>
                  <a:gd name="connsiteX17" fmla="*/ 19994 w 576262"/>
                  <a:gd name="connsiteY17" fmla="*/ 650875 h 820737"/>
                  <a:gd name="connsiteX18" fmla="*/ 19964 w 576262"/>
                  <a:gd name="connsiteY18" fmla="*/ 520700 h 820737"/>
                  <a:gd name="connsiteX19" fmla="*/ 554711 w 576262"/>
                  <a:gd name="connsiteY19" fmla="*/ 520700 h 820737"/>
                  <a:gd name="connsiteX20" fmla="*/ 574675 w 576262"/>
                  <a:gd name="connsiteY20" fmla="*/ 540183 h 820737"/>
                  <a:gd name="connsiteX21" fmla="*/ 554711 w 576262"/>
                  <a:gd name="connsiteY21" fmla="*/ 560387 h 820737"/>
                  <a:gd name="connsiteX22" fmla="*/ 19964 w 576262"/>
                  <a:gd name="connsiteY22" fmla="*/ 560387 h 820737"/>
                  <a:gd name="connsiteX23" fmla="*/ 0 w 576262"/>
                  <a:gd name="connsiteY23" fmla="*/ 540183 h 820737"/>
                  <a:gd name="connsiteX24" fmla="*/ 19964 w 576262"/>
                  <a:gd name="connsiteY24" fmla="*/ 520700 h 820737"/>
                  <a:gd name="connsiteX25" fmla="*/ 19964 w 576262"/>
                  <a:gd name="connsiteY25" fmla="*/ 390525 h 820737"/>
                  <a:gd name="connsiteX26" fmla="*/ 554711 w 576262"/>
                  <a:gd name="connsiteY26" fmla="*/ 390525 h 820737"/>
                  <a:gd name="connsiteX27" fmla="*/ 574675 w 576262"/>
                  <a:gd name="connsiteY27" fmla="*/ 409216 h 820737"/>
                  <a:gd name="connsiteX28" fmla="*/ 554711 w 576262"/>
                  <a:gd name="connsiteY28" fmla="*/ 428625 h 820737"/>
                  <a:gd name="connsiteX29" fmla="*/ 19964 w 576262"/>
                  <a:gd name="connsiteY29" fmla="*/ 428625 h 820737"/>
                  <a:gd name="connsiteX30" fmla="*/ 0 w 576262"/>
                  <a:gd name="connsiteY30" fmla="*/ 409216 h 820737"/>
                  <a:gd name="connsiteX31" fmla="*/ 19964 w 576262"/>
                  <a:gd name="connsiteY31" fmla="*/ 390525 h 820737"/>
                  <a:gd name="connsiteX32" fmla="*/ 19964 w 576262"/>
                  <a:gd name="connsiteY32" fmla="*/ 260350 h 820737"/>
                  <a:gd name="connsiteX33" fmla="*/ 554711 w 576262"/>
                  <a:gd name="connsiteY33" fmla="*/ 260350 h 820737"/>
                  <a:gd name="connsiteX34" fmla="*/ 574675 w 576262"/>
                  <a:gd name="connsiteY34" fmla="*/ 279746 h 820737"/>
                  <a:gd name="connsiteX35" fmla="*/ 554711 w 576262"/>
                  <a:gd name="connsiteY35" fmla="*/ 298450 h 820737"/>
                  <a:gd name="connsiteX36" fmla="*/ 19964 w 576262"/>
                  <a:gd name="connsiteY36" fmla="*/ 298450 h 820737"/>
                  <a:gd name="connsiteX37" fmla="*/ 0 w 576262"/>
                  <a:gd name="connsiteY37" fmla="*/ 279746 h 820737"/>
                  <a:gd name="connsiteX38" fmla="*/ 19964 w 576262"/>
                  <a:gd name="connsiteY38" fmla="*/ 260350 h 820737"/>
                  <a:gd name="connsiteX39" fmla="*/ 19964 w 576262"/>
                  <a:gd name="connsiteY39" fmla="*/ 130175 h 820737"/>
                  <a:gd name="connsiteX40" fmla="*/ 554711 w 576262"/>
                  <a:gd name="connsiteY40" fmla="*/ 130175 h 820737"/>
                  <a:gd name="connsiteX41" fmla="*/ 574675 w 576262"/>
                  <a:gd name="connsiteY41" fmla="*/ 149658 h 820737"/>
                  <a:gd name="connsiteX42" fmla="*/ 554711 w 576262"/>
                  <a:gd name="connsiteY42" fmla="*/ 169862 h 820737"/>
                  <a:gd name="connsiteX43" fmla="*/ 19964 w 576262"/>
                  <a:gd name="connsiteY43" fmla="*/ 169862 h 820737"/>
                  <a:gd name="connsiteX44" fmla="*/ 0 w 576262"/>
                  <a:gd name="connsiteY44" fmla="*/ 149658 h 820737"/>
                  <a:gd name="connsiteX45" fmla="*/ 19964 w 576262"/>
                  <a:gd name="connsiteY45" fmla="*/ 130175 h 820737"/>
                  <a:gd name="connsiteX46" fmla="*/ 19964 w 576262"/>
                  <a:gd name="connsiteY46" fmla="*/ 0 h 820737"/>
                  <a:gd name="connsiteX47" fmla="*/ 554711 w 576262"/>
                  <a:gd name="connsiteY47" fmla="*/ 0 h 820737"/>
                  <a:gd name="connsiteX48" fmla="*/ 574675 w 576262"/>
                  <a:gd name="connsiteY48" fmla="*/ 20204 h 820737"/>
                  <a:gd name="connsiteX49" fmla="*/ 554711 w 576262"/>
                  <a:gd name="connsiteY49" fmla="*/ 39687 h 820737"/>
                  <a:gd name="connsiteX50" fmla="*/ 19964 w 576262"/>
                  <a:gd name="connsiteY50" fmla="*/ 39687 h 820737"/>
                  <a:gd name="connsiteX51" fmla="*/ 0 w 576262"/>
                  <a:gd name="connsiteY51" fmla="*/ 20204 h 820737"/>
                  <a:gd name="connsiteX52" fmla="*/ 19964 w 576262"/>
                  <a:gd name="connsiteY52" fmla="*/ 0 h 82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576262" h="820737">
                    <a:moveTo>
                      <a:pt x="19994" y="781050"/>
                    </a:moveTo>
                    <a:cubicBezTo>
                      <a:pt x="555554" y="781050"/>
                      <a:pt x="555554" y="781050"/>
                      <a:pt x="555554" y="781050"/>
                    </a:cubicBezTo>
                    <a:cubicBezTo>
                      <a:pt x="565551" y="781050"/>
                      <a:pt x="573406" y="787428"/>
                      <a:pt x="574834" y="796641"/>
                    </a:cubicBezTo>
                    <a:cubicBezTo>
                      <a:pt x="575548" y="798059"/>
                      <a:pt x="576262" y="800185"/>
                      <a:pt x="576262" y="802311"/>
                    </a:cubicBezTo>
                    <a:cubicBezTo>
                      <a:pt x="576262" y="812233"/>
                      <a:pt x="567693" y="820737"/>
                      <a:pt x="556268" y="820737"/>
                    </a:cubicBezTo>
                    <a:cubicBezTo>
                      <a:pt x="19994" y="820737"/>
                      <a:pt x="19994" y="820737"/>
                      <a:pt x="19994" y="820737"/>
                    </a:cubicBezTo>
                    <a:cubicBezTo>
                      <a:pt x="11426" y="820737"/>
                      <a:pt x="4285" y="815068"/>
                      <a:pt x="1428" y="807981"/>
                    </a:cubicBezTo>
                    <a:cubicBezTo>
                      <a:pt x="714" y="805146"/>
                      <a:pt x="0" y="803020"/>
                      <a:pt x="0" y="800185"/>
                    </a:cubicBezTo>
                    <a:cubicBezTo>
                      <a:pt x="0" y="789554"/>
                      <a:pt x="9283" y="781050"/>
                      <a:pt x="19994" y="781050"/>
                    </a:cubicBezTo>
                    <a:close/>
                    <a:moveTo>
                      <a:pt x="19994" y="650875"/>
                    </a:moveTo>
                    <a:cubicBezTo>
                      <a:pt x="555554" y="650875"/>
                      <a:pt x="555554" y="650875"/>
                      <a:pt x="555554" y="650875"/>
                    </a:cubicBezTo>
                    <a:cubicBezTo>
                      <a:pt x="564123" y="650875"/>
                      <a:pt x="569836" y="655053"/>
                      <a:pt x="573406" y="661319"/>
                    </a:cubicBezTo>
                    <a:cubicBezTo>
                      <a:pt x="574834" y="664104"/>
                      <a:pt x="576262" y="667585"/>
                      <a:pt x="576262" y="671067"/>
                    </a:cubicBezTo>
                    <a:cubicBezTo>
                      <a:pt x="576262" y="681511"/>
                      <a:pt x="567693" y="690562"/>
                      <a:pt x="556268" y="690562"/>
                    </a:cubicBezTo>
                    <a:cubicBezTo>
                      <a:pt x="19994" y="690562"/>
                      <a:pt x="19994" y="690562"/>
                      <a:pt x="19994" y="690562"/>
                    </a:cubicBezTo>
                    <a:cubicBezTo>
                      <a:pt x="14282" y="690562"/>
                      <a:pt x="8569" y="687777"/>
                      <a:pt x="4999" y="682903"/>
                    </a:cubicBezTo>
                    <a:cubicBezTo>
                      <a:pt x="2142" y="679422"/>
                      <a:pt x="0" y="675244"/>
                      <a:pt x="0" y="670370"/>
                    </a:cubicBezTo>
                    <a:cubicBezTo>
                      <a:pt x="0" y="659927"/>
                      <a:pt x="9283" y="650875"/>
                      <a:pt x="19994" y="650875"/>
                    </a:cubicBezTo>
                    <a:close/>
                    <a:moveTo>
                      <a:pt x="19964" y="520700"/>
                    </a:moveTo>
                    <a:cubicBezTo>
                      <a:pt x="554711" y="520700"/>
                      <a:pt x="554711" y="520700"/>
                      <a:pt x="554711" y="520700"/>
                    </a:cubicBezTo>
                    <a:cubicBezTo>
                      <a:pt x="566832" y="520700"/>
                      <a:pt x="574675" y="529359"/>
                      <a:pt x="574675" y="540183"/>
                    </a:cubicBezTo>
                    <a:cubicBezTo>
                      <a:pt x="574675" y="551007"/>
                      <a:pt x="566832" y="560387"/>
                      <a:pt x="554711" y="560387"/>
                    </a:cubicBezTo>
                    <a:cubicBezTo>
                      <a:pt x="19964" y="560387"/>
                      <a:pt x="19964" y="560387"/>
                      <a:pt x="19964" y="560387"/>
                    </a:cubicBezTo>
                    <a:cubicBezTo>
                      <a:pt x="9269" y="560387"/>
                      <a:pt x="0" y="551007"/>
                      <a:pt x="0" y="540183"/>
                    </a:cubicBezTo>
                    <a:cubicBezTo>
                      <a:pt x="0" y="529359"/>
                      <a:pt x="9269" y="520700"/>
                      <a:pt x="19964" y="520700"/>
                    </a:cubicBezTo>
                    <a:close/>
                    <a:moveTo>
                      <a:pt x="19964" y="390525"/>
                    </a:moveTo>
                    <a:cubicBezTo>
                      <a:pt x="554711" y="390525"/>
                      <a:pt x="554711" y="390525"/>
                      <a:pt x="554711" y="390525"/>
                    </a:cubicBezTo>
                    <a:cubicBezTo>
                      <a:pt x="566832" y="390525"/>
                      <a:pt x="574675" y="399152"/>
                      <a:pt x="574675" y="409216"/>
                    </a:cubicBezTo>
                    <a:cubicBezTo>
                      <a:pt x="574675" y="419999"/>
                      <a:pt x="566832" y="428625"/>
                      <a:pt x="554711" y="428625"/>
                    </a:cubicBezTo>
                    <a:cubicBezTo>
                      <a:pt x="19964" y="428625"/>
                      <a:pt x="19964" y="428625"/>
                      <a:pt x="19964" y="428625"/>
                    </a:cubicBezTo>
                    <a:cubicBezTo>
                      <a:pt x="9269" y="428625"/>
                      <a:pt x="0" y="419999"/>
                      <a:pt x="0" y="409216"/>
                    </a:cubicBezTo>
                    <a:cubicBezTo>
                      <a:pt x="0" y="399152"/>
                      <a:pt x="9269" y="390525"/>
                      <a:pt x="19964" y="390525"/>
                    </a:cubicBezTo>
                    <a:close/>
                    <a:moveTo>
                      <a:pt x="19964" y="260350"/>
                    </a:moveTo>
                    <a:cubicBezTo>
                      <a:pt x="554711" y="260350"/>
                      <a:pt x="554711" y="260350"/>
                      <a:pt x="554711" y="260350"/>
                    </a:cubicBezTo>
                    <a:cubicBezTo>
                      <a:pt x="566832" y="260350"/>
                      <a:pt x="574675" y="269356"/>
                      <a:pt x="574675" y="279746"/>
                    </a:cubicBezTo>
                    <a:cubicBezTo>
                      <a:pt x="574675" y="290137"/>
                      <a:pt x="566832" y="298450"/>
                      <a:pt x="554711" y="298450"/>
                    </a:cubicBezTo>
                    <a:cubicBezTo>
                      <a:pt x="19964" y="298450"/>
                      <a:pt x="19964" y="298450"/>
                      <a:pt x="19964" y="298450"/>
                    </a:cubicBezTo>
                    <a:cubicBezTo>
                      <a:pt x="9269" y="298450"/>
                      <a:pt x="0" y="290137"/>
                      <a:pt x="0" y="279746"/>
                    </a:cubicBezTo>
                    <a:cubicBezTo>
                      <a:pt x="0" y="269356"/>
                      <a:pt x="9269" y="260350"/>
                      <a:pt x="19964" y="260350"/>
                    </a:cubicBezTo>
                    <a:close/>
                    <a:moveTo>
                      <a:pt x="19964" y="130175"/>
                    </a:moveTo>
                    <a:cubicBezTo>
                      <a:pt x="554711" y="130175"/>
                      <a:pt x="554711" y="130175"/>
                      <a:pt x="554711" y="130175"/>
                    </a:cubicBezTo>
                    <a:cubicBezTo>
                      <a:pt x="566832" y="130175"/>
                      <a:pt x="574675" y="138834"/>
                      <a:pt x="574675" y="149658"/>
                    </a:cubicBezTo>
                    <a:cubicBezTo>
                      <a:pt x="574675" y="160482"/>
                      <a:pt x="566832" y="169862"/>
                      <a:pt x="554711" y="169862"/>
                    </a:cubicBezTo>
                    <a:cubicBezTo>
                      <a:pt x="19964" y="169862"/>
                      <a:pt x="19964" y="169862"/>
                      <a:pt x="19964" y="169862"/>
                    </a:cubicBezTo>
                    <a:cubicBezTo>
                      <a:pt x="9269" y="169862"/>
                      <a:pt x="0" y="160482"/>
                      <a:pt x="0" y="149658"/>
                    </a:cubicBezTo>
                    <a:cubicBezTo>
                      <a:pt x="0" y="138834"/>
                      <a:pt x="9269" y="130175"/>
                      <a:pt x="19964" y="130175"/>
                    </a:cubicBezTo>
                    <a:close/>
                    <a:moveTo>
                      <a:pt x="19964" y="0"/>
                    </a:moveTo>
                    <a:cubicBezTo>
                      <a:pt x="554711" y="0"/>
                      <a:pt x="554711" y="0"/>
                      <a:pt x="554711" y="0"/>
                    </a:cubicBezTo>
                    <a:cubicBezTo>
                      <a:pt x="566832" y="0"/>
                      <a:pt x="574675" y="7937"/>
                      <a:pt x="574675" y="20204"/>
                    </a:cubicBezTo>
                    <a:cubicBezTo>
                      <a:pt x="574675" y="31028"/>
                      <a:pt x="566832" y="39687"/>
                      <a:pt x="554711" y="39687"/>
                    </a:cubicBezTo>
                    <a:cubicBezTo>
                      <a:pt x="19964" y="39687"/>
                      <a:pt x="19964" y="39687"/>
                      <a:pt x="19964" y="39687"/>
                    </a:cubicBezTo>
                    <a:cubicBezTo>
                      <a:pt x="9269" y="39687"/>
                      <a:pt x="0" y="31028"/>
                      <a:pt x="0" y="20204"/>
                    </a:cubicBezTo>
                    <a:cubicBezTo>
                      <a:pt x="0" y="7937"/>
                      <a:pt x="9269" y="0"/>
                      <a:pt x="19964" y="0"/>
                    </a:cubicBezTo>
                    <a:close/>
                  </a:path>
                </a:pathLst>
              </a:custGeom>
              <a:solidFill>
                <a:srgbClr val="3EA7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algn="r" defTabSz="914400" rtl="1" eaLnBrk="1" latinLnBrk="0" hangingPunct="1"/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</p:grpSp>
      <p:grpSp>
        <p:nvGrpSpPr>
          <p:cNvPr id="75" name="bcgIcons_HarveyBalls">
            <a:extLst>
              <a:ext uri="{FF2B5EF4-FFF2-40B4-BE49-F238E27FC236}">
                <a16:creationId xmlns:a16="http://schemas.microsoft.com/office/drawing/2014/main" id="{AE066964-795A-BE4E-AAF1-7EC0658AB340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88994" y="4104887"/>
            <a:ext cx="331788" cy="332094"/>
            <a:chOff x="1682" y="0"/>
            <a:chExt cx="4316" cy="4320"/>
          </a:xfrm>
        </p:grpSpPr>
        <p:sp>
          <p:nvSpPr>
            <p:cNvPr id="76" name="AutoShape 17">
              <a:extLst>
                <a:ext uri="{FF2B5EF4-FFF2-40B4-BE49-F238E27FC236}">
                  <a16:creationId xmlns:a16="http://schemas.microsoft.com/office/drawing/2014/main" id="{C76AF288-5988-5A46-9B5B-08F06C1B05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77" name="Freeform 20">
              <a:extLst>
                <a:ext uri="{FF2B5EF4-FFF2-40B4-BE49-F238E27FC236}">
                  <a16:creationId xmlns:a16="http://schemas.microsoft.com/office/drawing/2014/main" id="{797EDEA0-E9F3-EA48-9489-CE31B89F8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1" y="803"/>
              <a:ext cx="3642" cy="2520"/>
            </a:xfrm>
            <a:custGeom>
              <a:avLst/>
              <a:gdLst>
                <a:gd name="T0" fmla="*/ 769 w 1944"/>
                <a:gd name="T1" fmla="*/ 1047 h 1344"/>
                <a:gd name="T2" fmla="*/ 390 w 1944"/>
                <a:gd name="T3" fmla="*/ 1344 h 1344"/>
                <a:gd name="T4" fmla="*/ 0 w 1944"/>
                <a:gd name="T5" fmla="*/ 954 h 1344"/>
                <a:gd name="T6" fmla="*/ 390 w 1944"/>
                <a:gd name="T7" fmla="*/ 563 h 1344"/>
                <a:gd name="T8" fmla="*/ 409 w 1944"/>
                <a:gd name="T9" fmla="*/ 564 h 1344"/>
                <a:gd name="T10" fmla="*/ 414 w 1944"/>
                <a:gd name="T11" fmla="*/ 608 h 1344"/>
                <a:gd name="T12" fmla="*/ 390 w 1944"/>
                <a:gd name="T13" fmla="*/ 607 h 1344"/>
                <a:gd name="T14" fmla="*/ 44 w 1944"/>
                <a:gd name="T15" fmla="*/ 954 h 1344"/>
                <a:gd name="T16" fmla="*/ 390 w 1944"/>
                <a:gd name="T17" fmla="*/ 1300 h 1344"/>
                <a:gd name="T18" fmla="*/ 728 w 1944"/>
                <a:gd name="T19" fmla="*/ 1030 h 1344"/>
                <a:gd name="T20" fmla="*/ 769 w 1944"/>
                <a:gd name="T21" fmla="*/ 1047 h 1344"/>
                <a:gd name="T22" fmla="*/ 1493 w 1944"/>
                <a:gd name="T23" fmla="*/ 520 h 1344"/>
                <a:gd name="T24" fmla="*/ 972 w 1944"/>
                <a:gd name="T25" fmla="*/ 0 h 1344"/>
                <a:gd name="T26" fmla="*/ 451 w 1944"/>
                <a:gd name="T27" fmla="*/ 520 h 1344"/>
                <a:gd name="T28" fmla="*/ 972 w 1944"/>
                <a:gd name="T29" fmla="*/ 1041 h 1344"/>
                <a:gd name="T30" fmla="*/ 1493 w 1944"/>
                <a:gd name="T31" fmla="*/ 520 h 1344"/>
                <a:gd name="T32" fmla="*/ 1449 w 1944"/>
                <a:gd name="T33" fmla="*/ 520 h 1344"/>
                <a:gd name="T34" fmla="*/ 972 w 1944"/>
                <a:gd name="T35" fmla="*/ 997 h 1344"/>
                <a:gd name="T36" fmla="*/ 495 w 1944"/>
                <a:gd name="T37" fmla="*/ 520 h 1344"/>
                <a:gd name="T38" fmla="*/ 972 w 1944"/>
                <a:gd name="T39" fmla="*/ 44 h 1344"/>
                <a:gd name="T40" fmla="*/ 1449 w 1944"/>
                <a:gd name="T41" fmla="*/ 520 h 1344"/>
                <a:gd name="T42" fmla="*/ 1554 w 1944"/>
                <a:gd name="T43" fmla="*/ 563 h 1344"/>
                <a:gd name="T44" fmla="*/ 1535 w 1944"/>
                <a:gd name="T45" fmla="*/ 564 h 1344"/>
                <a:gd name="T46" fmla="*/ 1530 w 1944"/>
                <a:gd name="T47" fmla="*/ 608 h 1344"/>
                <a:gd name="T48" fmla="*/ 1554 w 1944"/>
                <a:gd name="T49" fmla="*/ 607 h 1344"/>
                <a:gd name="T50" fmla="*/ 1900 w 1944"/>
                <a:gd name="T51" fmla="*/ 954 h 1344"/>
                <a:gd name="T52" fmla="*/ 1554 w 1944"/>
                <a:gd name="T53" fmla="*/ 1300 h 1344"/>
                <a:gd name="T54" fmla="*/ 1216 w 1944"/>
                <a:gd name="T55" fmla="*/ 1030 h 1344"/>
                <a:gd name="T56" fmla="*/ 1175 w 1944"/>
                <a:gd name="T57" fmla="*/ 1047 h 1344"/>
                <a:gd name="T58" fmla="*/ 1554 w 1944"/>
                <a:gd name="T59" fmla="*/ 1344 h 1344"/>
                <a:gd name="T60" fmla="*/ 1944 w 1944"/>
                <a:gd name="T61" fmla="*/ 954 h 1344"/>
                <a:gd name="T62" fmla="*/ 1554 w 1944"/>
                <a:gd name="T63" fmla="*/ 563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44" h="1344">
                  <a:moveTo>
                    <a:pt x="769" y="1047"/>
                  </a:moveTo>
                  <a:cubicBezTo>
                    <a:pt x="727" y="1218"/>
                    <a:pt x="573" y="1344"/>
                    <a:pt x="390" y="1344"/>
                  </a:cubicBezTo>
                  <a:cubicBezTo>
                    <a:pt x="175" y="1344"/>
                    <a:pt x="0" y="1169"/>
                    <a:pt x="0" y="954"/>
                  </a:cubicBezTo>
                  <a:cubicBezTo>
                    <a:pt x="0" y="739"/>
                    <a:pt x="175" y="563"/>
                    <a:pt x="390" y="563"/>
                  </a:cubicBezTo>
                  <a:cubicBezTo>
                    <a:pt x="396" y="563"/>
                    <a:pt x="403" y="564"/>
                    <a:pt x="409" y="564"/>
                  </a:cubicBezTo>
                  <a:cubicBezTo>
                    <a:pt x="410" y="579"/>
                    <a:pt x="412" y="594"/>
                    <a:pt x="414" y="608"/>
                  </a:cubicBezTo>
                  <a:cubicBezTo>
                    <a:pt x="406" y="608"/>
                    <a:pt x="398" y="607"/>
                    <a:pt x="390" y="607"/>
                  </a:cubicBezTo>
                  <a:cubicBezTo>
                    <a:pt x="199" y="607"/>
                    <a:pt x="44" y="763"/>
                    <a:pt x="44" y="954"/>
                  </a:cubicBezTo>
                  <a:cubicBezTo>
                    <a:pt x="44" y="1145"/>
                    <a:pt x="199" y="1300"/>
                    <a:pt x="390" y="1300"/>
                  </a:cubicBezTo>
                  <a:cubicBezTo>
                    <a:pt x="555" y="1300"/>
                    <a:pt x="693" y="1184"/>
                    <a:pt x="728" y="1030"/>
                  </a:cubicBezTo>
                  <a:cubicBezTo>
                    <a:pt x="742" y="1036"/>
                    <a:pt x="755" y="1042"/>
                    <a:pt x="769" y="1047"/>
                  </a:cubicBezTo>
                  <a:close/>
                  <a:moveTo>
                    <a:pt x="1493" y="520"/>
                  </a:moveTo>
                  <a:cubicBezTo>
                    <a:pt x="1493" y="233"/>
                    <a:pt x="1259" y="0"/>
                    <a:pt x="972" y="0"/>
                  </a:cubicBezTo>
                  <a:cubicBezTo>
                    <a:pt x="685" y="0"/>
                    <a:pt x="451" y="233"/>
                    <a:pt x="451" y="520"/>
                  </a:cubicBezTo>
                  <a:cubicBezTo>
                    <a:pt x="451" y="808"/>
                    <a:pt x="685" y="1041"/>
                    <a:pt x="972" y="1041"/>
                  </a:cubicBezTo>
                  <a:cubicBezTo>
                    <a:pt x="1259" y="1041"/>
                    <a:pt x="1493" y="808"/>
                    <a:pt x="1493" y="520"/>
                  </a:cubicBezTo>
                  <a:close/>
                  <a:moveTo>
                    <a:pt x="1449" y="520"/>
                  </a:moveTo>
                  <a:cubicBezTo>
                    <a:pt x="1449" y="783"/>
                    <a:pt x="1235" y="997"/>
                    <a:pt x="972" y="997"/>
                  </a:cubicBezTo>
                  <a:cubicBezTo>
                    <a:pt x="709" y="997"/>
                    <a:pt x="495" y="783"/>
                    <a:pt x="495" y="520"/>
                  </a:cubicBezTo>
                  <a:cubicBezTo>
                    <a:pt x="495" y="258"/>
                    <a:pt x="709" y="44"/>
                    <a:pt x="972" y="44"/>
                  </a:cubicBezTo>
                  <a:cubicBezTo>
                    <a:pt x="1235" y="44"/>
                    <a:pt x="1449" y="258"/>
                    <a:pt x="1449" y="520"/>
                  </a:cubicBezTo>
                  <a:close/>
                  <a:moveTo>
                    <a:pt x="1554" y="563"/>
                  </a:moveTo>
                  <a:cubicBezTo>
                    <a:pt x="1548" y="563"/>
                    <a:pt x="1541" y="564"/>
                    <a:pt x="1535" y="564"/>
                  </a:cubicBezTo>
                  <a:cubicBezTo>
                    <a:pt x="1534" y="579"/>
                    <a:pt x="1532" y="594"/>
                    <a:pt x="1530" y="608"/>
                  </a:cubicBezTo>
                  <a:cubicBezTo>
                    <a:pt x="1538" y="608"/>
                    <a:pt x="1546" y="607"/>
                    <a:pt x="1554" y="607"/>
                  </a:cubicBezTo>
                  <a:cubicBezTo>
                    <a:pt x="1745" y="607"/>
                    <a:pt x="1900" y="763"/>
                    <a:pt x="1900" y="954"/>
                  </a:cubicBezTo>
                  <a:cubicBezTo>
                    <a:pt x="1900" y="1145"/>
                    <a:pt x="1745" y="1300"/>
                    <a:pt x="1554" y="1300"/>
                  </a:cubicBezTo>
                  <a:cubicBezTo>
                    <a:pt x="1389" y="1300"/>
                    <a:pt x="1251" y="1184"/>
                    <a:pt x="1216" y="1030"/>
                  </a:cubicBezTo>
                  <a:cubicBezTo>
                    <a:pt x="1202" y="1036"/>
                    <a:pt x="1189" y="1042"/>
                    <a:pt x="1175" y="1047"/>
                  </a:cubicBezTo>
                  <a:cubicBezTo>
                    <a:pt x="1217" y="1218"/>
                    <a:pt x="1371" y="1344"/>
                    <a:pt x="1554" y="1344"/>
                  </a:cubicBezTo>
                  <a:cubicBezTo>
                    <a:pt x="1769" y="1344"/>
                    <a:pt x="1944" y="1169"/>
                    <a:pt x="1944" y="954"/>
                  </a:cubicBezTo>
                  <a:cubicBezTo>
                    <a:pt x="1944" y="739"/>
                    <a:pt x="1769" y="563"/>
                    <a:pt x="1554" y="563"/>
                  </a:cubicBezTo>
                  <a:close/>
                </a:path>
              </a:pathLst>
            </a:custGeom>
            <a:solidFill>
              <a:srgbClr val="3EA7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algn="r" defTabSz="914400" rtl="1" eaLnBrk="1" latinLnBrk="0" hangingPunct="1"/>
              <a:endParaRPr lang="ar-SA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78" name="Freeform 19">
              <a:extLst>
                <a:ext uri="{FF2B5EF4-FFF2-40B4-BE49-F238E27FC236}">
                  <a16:creationId xmlns:a16="http://schemas.microsoft.com/office/drawing/2014/main" id="{352215BD-1D23-DA41-82DA-7A64F2589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6" y="968"/>
              <a:ext cx="3142" cy="2190"/>
            </a:xfrm>
            <a:custGeom>
              <a:avLst/>
              <a:gdLst>
                <a:gd name="T0" fmla="*/ 1375 w 1677"/>
                <a:gd name="T1" fmla="*/ 563 h 1168"/>
                <a:gd name="T2" fmla="*/ 1375 w 1677"/>
                <a:gd name="T3" fmla="*/ 563 h 1168"/>
                <a:gd name="T4" fmla="*/ 1677 w 1677"/>
                <a:gd name="T5" fmla="*/ 865 h 1168"/>
                <a:gd name="T6" fmla="*/ 1375 w 1677"/>
                <a:gd name="T7" fmla="*/ 866 h 1168"/>
                <a:gd name="T8" fmla="*/ 1375 w 1677"/>
                <a:gd name="T9" fmla="*/ 563 h 1168"/>
                <a:gd name="T10" fmla="*/ 793 w 1677"/>
                <a:gd name="T11" fmla="*/ 432 h 1168"/>
                <a:gd name="T12" fmla="*/ 360 w 1677"/>
                <a:gd name="T13" fmla="*/ 432 h 1168"/>
                <a:gd name="T14" fmla="*/ 793 w 1677"/>
                <a:gd name="T15" fmla="*/ 865 h 1168"/>
                <a:gd name="T16" fmla="*/ 1226 w 1677"/>
                <a:gd name="T17" fmla="*/ 432 h 1168"/>
                <a:gd name="T18" fmla="*/ 793 w 1677"/>
                <a:gd name="T19" fmla="*/ 0 h 1168"/>
                <a:gd name="T20" fmla="*/ 793 w 1677"/>
                <a:gd name="T21" fmla="*/ 0 h 1168"/>
                <a:gd name="T22" fmla="*/ 793 w 1677"/>
                <a:gd name="T23" fmla="*/ 432 h 1168"/>
                <a:gd name="T24" fmla="*/ 244 w 1677"/>
                <a:gd name="T25" fmla="*/ 565 h 1168"/>
                <a:gd name="T26" fmla="*/ 211 w 1677"/>
                <a:gd name="T27" fmla="*/ 563 h 1168"/>
                <a:gd name="T28" fmla="*/ 211 w 1677"/>
                <a:gd name="T29" fmla="*/ 563 h 1168"/>
                <a:gd name="T30" fmla="*/ 211 w 1677"/>
                <a:gd name="T31" fmla="*/ 866 h 1168"/>
                <a:gd name="T32" fmla="*/ 0 w 1677"/>
                <a:gd name="T33" fmla="*/ 1082 h 1168"/>
                <a:gd name="T34" fmla="*/ 211 w 1677"/>
                <a:gd name="T35" fmla="*/ 1168 h 1168"/>
                <a:gd name="T36" fmla="*/ 509 w 1677"/>
                <a:gd name="T37" fmla="*/ 920 h 1168"/>
                <a:gd name="T38" fmla="*/ 244 w 1677"/>
                <a:gd name="T39" fmla="*/ 565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77" h="1168">
                  <a:moveTo>
                    <a:pt x="1375" y="563"/>
                  </a:moveTo>
                  <a:cubicBezTo>
                    <a:pt x="1375" y="563"/>
                    <a:pt x="1375" y="563"/>
                    <a:pt x="1375" y="563"/>
                  </a:cubicBezTo>
                  <a:cubicBezTo>
                    <a:pt x="1541" y="563"/>
                    <a:pt x="1677" y="700"/>
                    <a:pt x="1677" y="865"/>
                  </a:cubicBezTo>
                  <a:cubicBezTo>
                    <a:pt x="1375" y="866"/>
                    <a:pt x="1375" y="866"/>
                    <a:pt x="1375" y="866"/>
                  </a:cubicBezTo>
                  <a:lnTo>
                    <a:pt x="1375" y="563"/>
                  </a:lnTo>
                  <a:close/>
                  <a:moveTo>
                    <a:pt x="793" y="432"/>
                  </a:moveTo>
                  <a:cubicBezTo>
                    <a:pt x="360" y="432"/>
                    <a:pt x="360" y="432"/>
                    <a:pt x="360" y="432"/>
                  </a:cubicBezTo>
                  <a:cubicBezTo>
                    <a:pt x="360" y="670"/>
                    <a:pt x="556" y="865"/>
                    <a:pt x="793" y="865"/>
                  </a:cubicBezTo>
                  <a:cubicBezTo>
                    <a:pt x="1030" y="865"/>
                    <a:pt x="1226" y="670"/>
                    <a:pt x="1226" y="432"/>
                  </a:cubicBezTo>
                  <a:cubicBezTo>
                    <a:pt x="1226" y="195"/>
                    <a:pt x="1030" y="0"/>
                    <a:pt x="793" y="0"/>
                  </a:cubicBezTo>
                  <a:cubicBezTo>
                    <a:pt x="793" y="0"/>
                    <a:pt x="793" y="0"/>
                    <a:pt x="793" y="0"/>
                  </a:cubicBezTo>
                  <a:lnTo>
                    <a:pt x="793" y="432"/>
                  </a:lnTo>
                  <a:close/>
                  <a:moveTo>
                    <a:pt x="244" y="565"/>
                  </a:moveTo>
                  <a:cubicBezTo>
                    <a:pt x="233" y="564"/>
                    <a:pt x="222" y="563"/>
                    <a:pt x="211" y="563"/>
                  </a:cubicBezTo>
                  <a:cubicBezTo>
                    <a:pt x="211" y="563"/>
                    <a:pt x="211" y="563"/>
                    <a:pt x="211" y="563"/>
                  </a:cubicBezTo>
                  <a:cubicBezTo>
                    <a:pt x="211" y="866"/>
                    <a:pt x="211" y="866"/>
                    <a:pt x="211" y="866"/>
                  </a:cubicBezTo>
                  <a:cubicBezTo>
                    <a:pt x="0" y="1082"/>
                    <a:pt x="0" y="1082"/>
                    <a:pt x="0" y="1082"/>
                  </a:cubicBezTo>
                  <a:cubicBezTo>
                    <a:pt x="56" y="1137"/>
                    <a:pt x="132" y="1168"/>
                    <a:pt x="211" y="1168"/>
                  </a:cubicBezTo>
                  <a:cubicBezTo>
                    <a:pt x="359" y="1168"/>
                    <a:pt x="483" y="1060"/>
                    <a:pt x="509" y="920"/>
                  </a:cubicBezTo>
                  <a:cubicBezTo>
                    <a:pt x="378" y="844"/>
                    <a:pt x="281" y="716"/>
                    <a:pt x="244" y="56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algn="r" defTabSz="914400" rtl="1" eaLnBrk="1" latinLnBrk="0" hangingPunct="1"/>
              <a:endParaRPr lang="ar-SA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FCCBD95-4E5B-DD46-A39B-773091AB443F}"/>
              </a:ext>
            </a:extLst>
          </p:cNvPr>
          <p:cNvGrpSpPr>
            <a:grpSpLocks noChangeAspect="1"/>
          </p:cNvGrpSpPr>
          <p:nvPr/>
        </p:nvGrpSpPr>
        <p:grpSpPr>
          <a:xfrm>
            <a:off x="88994" y="5403204"/>
            <a:ext cx="331788" cy="332094"/>
            <a:chOff x="5273799" y="2606040"/>
            <a:chExt cx="1644396" cy="1645920"/>
          </a:xfrm>
        </p:grpSpPr>
        <p:sp>
          <p:nvSpPr>
            <p:cNvPr id="80" name="AutoShape 8">
              <a:extLst>
                <a:ext uri="{FF2B5EF4-FFF2-40B4-BE49-F238E27FC236}">
                  <a16:creationId xmlns:a16="http://schemas.microsoft.com/office/drawing/2014/main" id="{213ACE93-FD2A-9943-8AE3-1694B73A1D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ED295ACC-863C-F042-BDBC-104A4E28DB77}"/>
                </a:ext>
              </a:extLst>
            </p:cNvPr>
            <p:cNvGrpSpPr/>
            <p:nvPr/>
          </p:nvGrpSpPr>
          <p:grpSpPr>
            <a:xfrm>
              <a:off x="5497065" y="2719578"/>
              <a:ext cx="1197864" cy="1361694"/>
              <a:chOff x="5497065" y="2719578"/>
              <a:chExt cx="1197864" cy="1361694"/>
            </a:xfrm>
          </p:grpSpPr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D2DBE9BE-758B-3643-95F5-7ECD6B1D6E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4982" y="2719578"/>
                <a:ext cx="1002030" cy="115595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rgbClr val="3EA7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r" defTabSz="914400" rtl="1" eaLnBrk="1" latinLnBrk="0" hangingPunct="1"/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30F63765-9F6E-B940-84EC-039E5228D8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5" y="3014091"/>
                <a:ext cx="1197864" cy="106718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r" defTabSz="914400" rtl="1" eaLnBrk="1" latinLnBrk="0" hangingPunct="1"/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92118767-94E9-7349-B3B0-D7E0B05BC8C2}"/>
              </a:ext>
            </a:extLst>
          </p:cNvPr>
          <p:cNvCxnSpPr/>
          <p:nvPr/>
        </p:nvCxnSpPr>
        <p:spPr>
          <a:xfrm>
            <a:off x="1854294" y="5962375"/>
            <a:ext cx="76803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58BE9117-1DA3-E646-9127-461D1E4145AC}"/>
              </a:ext>
            </a:extLst>
          </p:cNvPr>
          <p:cNvSpPr/>
          <p:nvPr/>
        </p:nvSpPr>
        <p:spPr>
          <a:xfrm>
            <a:off x="1797259" y="2421773"/>
            <a:ext cx="1611603" cy="3805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3EA798"/>
                </a:solidFill>
                <a:latin typeface="Objectivity Light" pitchFamily="2" charset="77"/>
                <a:cs typeface="DIN Next LT Arabic Light" panose="020B0303020203050203" pitchFamily="34" charset="-78"/>
              </a:rPr>
              <a:t>Baseline model using linear regression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CB8FE55-F3A1-FC4B-8F3C-CABC08AEAC69}"/>
              </a:ext>
            </a:extLst>
          </p:cNvPr>
          <p:cNvSpPr/>
          <p:nvPr/>
        </p:nvSpPr>
        <p:spPr>
          <a:xfrm>
            <a:off x="3360956" y="2421774"/>
            <a:ext cx="1463675" cy="2062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rgbClr val="3EA798"/>
                </a:solidFill>
                <a:latin typeface="Objectivity Light" pitchFamily="2" charset="77"/>
              </a:rPr>
              <a:t>Naïve Bayes </a:t>
            </a:r>
            <a:endParaRPr lang="en-US" sz="1600" b="1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4838F84-9732-1C40-990F-C67F79CE3BD3}"/>
              </a:ext>
            </a:extLst>
          </p:cNvPr>
          <p:cNvSpPr/>
          <p:nvPr/>
        </p:nvSpPr>
        <p:spPr>
          <a:xfrm>
            <a:off x="4933974" y="2421774"/>
            <a:ext cx="1463675" cy="2062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rgbClr val="3EA798"/>
                </a:solidFill>
                <a:latin typeface="Objectivity Light" pitchFamily="2" charset="77"/>
              </a:rPr>
              <a:t>Random Forest </a:t>
            </a:r>
            <a:endParaRPr lang="en-US" sz="1600" b="1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BA61E318-82C6-1D46-BA65-06FF4B4AB6EC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5449367" y="1733340"/>
            <a:ext cx="505405" cy="505405"/>
            <a:chOff x="5273040" y="2606040"/>
            <a:chExt cx="1645920" cy="1645920"/>
          </a:xfrm>
          <a:solidFill>
            <a:srgbClr val="F2F2F2"/>
          </a:solidFill>
        </p:grpSpPr>
        <p:sp>
          <p:nvSpPr>
            <p:cNvPr id="99" name="AutoShape 3">
              <a:extLst>
                <a:ext uri="{FF2B5EF4-FFF2-40B4-BE49-F238E27FC236}">
                  <a16:creationId xmlns:a16="http://schemas.microsoft.com/office/drawing/2014/main" id="{1AEA838B-9B41-F141-B396-97B059223D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A9E9F7E3-8A91-854F-95AB-3397F0BE9BE2}"/>
                </a:ext>
              </a:extLst>
            </p:cNvPr>
            <p:cNvGrpSpPr/>
            <p:nvPr/>
          </p:nvGrpSpPr>
          <p:grpSpPr>
            <a:xfrm>
              <a:off x="5524500" y="2788920"/>
              <a:ext cx="1143000" cy="1280160"/>
              <a:chOff x="5524500" y="2788920"/>
              <a:chExt cx="1143000" cy="1280160"/>
            </a:xfrm>
            <a:grpFill/>
          </p:grpSpPr>
          <p:sp>
            <p:nvSpPr>
              <p:cNvPr id="101" name="Freeform 100">
                <a:extLst>
                  <a:ext uri="{FF2B5EF4-FFF2-40B4-BE49-F238E27FC236}">
                    <a16:creationId xmlns:a16="http://schemas.microsoft.com/office/drawing/2014/main" id="{0232CA9C-B339-F242-BB10-64A8E2C20B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4500" y="2788920"/>
                <a:ext cx="1143000" cy="1280160"/>
              </a:xfrm>
              <a:custGeom>
                <a:avLst/>
                <a:gdLst>
                  <a:gd name="connsiteX0" fmla="*/ 3838576 w 4762500"/>
                  <a:gd name="connsiteY0" fmla="*/ 3554413 h 5334000"/>
                  <a:gd name="connsiteX1" fmla="*/ 3021013 w 4762500"/>
                  <a:gd name="connsiteY1" fmla="*/ 4365626 h 5334000"/>
                  <a:gd name="connsiteX2" fmla="*/ 3838576 w 4762500"/>
                  <a:gd name="connsiteY2" fmla="*/ 5176839 h 5334000"/>
                  <a:gd name="connsiteX3" fmla="*/ 4656139 w 4762500"/>
                  <a:gd name="connsiteY3" fmla="*/ 4365626 h 5334000"/>
                  <a:gd name="connsiteX4" fmla="*/ 3838576 w 4762500"/>
                  <a:gd name="connsiteY4" fmla="*/ 3554413 h 5334000"/>
                  <a:gd name="connsiteX5" fmla="*/ 3830737 w 4762500"/>
                  <a:gd name="connsiteY5" fmla="*/ 3435350 h 5334000"/>
                  <a:gd name="connsiteX6" fmla="*/ 4762500 w 4762500"/>
                  <a:gd name="connsiteY6" fmla="*/ 4367114 h 5334000"/>
                  <a:gd name="connsiteX7" fmla="*/ 3830737 w 4762500"/>
                  <a:gd name="connsiteY7" fmla="*/ 5295900 h 5334000"/>
                  <a:gd name="connsiteX8" fmla="*/ 2901950 w 4762500"/>
                  <a:gd name="connsiteY8" fmla="*/ 4367114 h 5334000"/>
                  <a:gd name="connsiteX9" fmla="*/ 3830737 w 4762500"/>
                  <a:gd name="connsiteY9" fmla="*/ 3435350 h 5334000"/>
                  <a:gd name="connsiteX10" fmla="*/ 1154958 w 4762500"/>
                  <a:gd name="connsiteY10" fmla="*/ 0 h 5334000"/>
                  <a:gd name="connsiteX11" fmla="*/ 4366813 w 4762500"/>
                  <a:gd name="connsiteY11" fmla="*/ 0 h 5334000"/>
                  <a:gd name="connsiteX12" fmla="*/ 4420393 w 4762500"/>
                  <a:gd name="connsiteY12" fmla="*/ 26789 h 5334000"/>
                  <a:gd name="connsiteX13" fmla="*/ 4432300 w 4762500"/>
                  <a:gd name="connsiteY13" fmla="*/ 65484 h 5334000"/>
                  <a:gd name="connsiteX14" fmla="*/ 4432300 w 4762500"/>
                  <a:gd name="connsiteY14" fmla="*/ 3515320 h 5334000"/>
                  <a:gd name="connsiteX15" fmla="*/ 4298349 w 4762500"/>
                  <a:gd name="connsiteY15" fmla="*/ 3437930 h 5334000"/>
                  <a:gd name="connsiteX16" fmla="*/ 4298349 w 4762500"/>
                  <a:gd name="connsiteY16" fmla="*/ 133945 h 5334000"/>
                  <a:gd name="connsiteX17" fmla="*/ 1220445 w 4762500"/>
                  <a:gd name="connsiteY17" fmla="*/ 133945 h 5334000"/>
                  <a:gd name="connsiteX18" fmla="*/ 1220445 w 4762500"/>
                  <a:gd name="connsiteY18" fmla="*/ 901899 h 5334000"/>
                  <a:gd name="connsiteX19" fmla="*/ 3277342 w 4762500"/>
                  <a:gd name="connsiteY19" fmla="*/ 901899 h 5334000"/>
                  <a:gd name="connsiteX20" fmla="*/ 3330923 w 4762500"/>
                  <a:gd name="connsiteY20" fmla="*/ 928688 h 5334000"/>
                  <a:gd name="connsiteX21" fmla="*/ 3342829 w 4762500"/>
                  <a:gd name="connsiteY21" fmla="*/ 967383 h 5334000"/>
                  <a:gd name="connsiteX22" fmla="*/ 3342829 w 4762500"/>
                  <a:gd name="connsiteY22" fmla="*/ 3449836 h 5334000"/>
                  <a:gd name="connsiteX23" fmla="*/ 3211855 w 4762500"/>
                  <a:gd name="connsiteY23" fmla="*/ 3542110 h 5334000"/>
                  <a:gd name="connsiteX24" fmla="*/ 3211855 w 4762500"/>
                  <a:gd name="connsiteY24" fmla="*/ 1035844 h 5334000"/>
                  <a:gd name="connsiteX25" fmla="*/ 133951 w 4762500"/>
                  <a:gd name="connsiteY25" fmla="*/ 1035844 h 5334000"/>
                  <a:gd name="connsiteX26" fmla="*/ 133951 w 4762500"/>
                  <a:gd name="connsiteY26" fmla="*/ 5200055 h 5334000"/>
                  <a:gd name="connsiteX27" fmla="*/ 3211855 w 4762500"/>
                  <a:gd name="connsiteY27" fmla="*/ 5200055 h 5334000"/>
                  <a:gd name="connsiteX28" fmla="*/ 3211855 w 4762500"/>
                  <a:gd name="connsiteY28" fmla="*/ 5188149 h 5334000"/>
                  <a:gd name="connsiteX29" fmla="*/ 3342829 w 4762500"/>
                  <a:gd name="connsiteY29" fmla="*/ 5280422 h 5334000"/>
                  <a:gd name="connsiteX30" fmla="*/ 3330923 w 4762500"/>
                  <a:gd name="connsiteY30" fmla="*/ 5322094 h 5334000"/>
                  <a:gd name="connsiteX31" fmla="*/ 3277342 w 4762500"/>
                  <a:gd name="connsiteY31" fmla="*/ 5334000 h 5334000"/>
                  <a:gd name="connsiteX32" fmla="*/ 65487 w 4762500"/>
                  <a:gd name="connsiteY32" fmla="*/ 5334000 h 5334000"/>
                  <a:gd name="connsiteX33" fmla="*/ 11907 w 4762500"/>
                  <a:gd name="connsiteY33" fmla="*/ 5322094 h 5334000"/>
                  <a:gd name="connsiteX34" fmla="*/ 0 w 4762500"/>
                  <a:gd name="connsiteY34" fmla="*/ 5268516 h 5334000"/>
                  <a:gd name="connsiteX35" fmla="*/ 0 w 4762500"/>
                  <a:gd name="connsiteY35" fmla="*/ 967383 h 5334000"/>
                  <a:gd name="connsiteX36" fmla="*/ 11907 w 4762500"/>
                  <a:gd name="connsiteY36" fmla="*/ 928688 h 5334000"/>
                  <a:gd name="connsiteX37" fmla="*/ 65487 w 4762500"/>
                  <a:gd name="connsiteY37" fmla="*/ 901899 h 5334000"/>
                  <a:gd name="connsiteX38" fmla="*/ 1089471 w 4762500"/>
                  <a:gd name="connsiteY38" fmla="*/ 901899 h 5334000"/>
                  <a:gd name="connsiteX39" fmla="*/ 1089471 w 4762500"/>
                  <a:gd name="connsiteY39" fmla="*/ 65484 h 5334000"/>
                  <a:gd name="connsiteX40" fmla="*/ 1101378 w 4762500"/>
                  <a:gd name="connsiteY40" fmla="*/ 26789 h 5334000"/>
                  <a:gd name="connsiteX41" fmla="*/ 1154958 w 4762500"/>
                  <a:gd name="connsiteY41" fmla="*/ 0 h 533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762500" h="5334000">
                    <a:moveTo>
                      <a:pt x="3838576" y="3554413"/>
                    </a:moveTo>
                    <a:cubicBezTo>
                      <a:pt x="3387048" y="3554413"/>
                      <a:pt x="3021013" y="3917605"/>
                      <a:pt x="3021013" y="4365626"/>
                    </a:cubicBezTo>
                    <a:cubicBezTo>
                      <a:pt x="3021013" y="4813647"/>
                      <a:pt x="3387048" y="5176839"/>
                      <a:pt x="3838576" y="5176839"/>
                    </a:cubicBezTo>
                    <a:cubicBezTo>
                      <a:pt x="4290104" y="5176839"/>
                      <a:pt x="4656139" y="4813647"/>
                      <a:pt x="4656139" y="4365626"/>
                    </a:cubicBezTo>
                    <a:cubicBezTo>
                      <a:pt x="4656139" y="3917605"/>
                      <a:pt x="4290104" y="3554413"/>
                      <a:pt x="3838576" y="3554413"/>
                    </a:cubicBezTo>
                    <a:close/>
                    <a:moveTo>
                      <a:pt x="3830737" y="3435350"/>
                    </a:moveTo>
                    <a:cubicBezTo>
                      <a:pt x="4351691" y="3435350"/>
                      <a:pt x="4762500" y="3849137"/>
                      <a:pt x="4762500" y="4367114"/>
                    </a:cubicBezTo>
                    <a:cubicBezTo>
                      <a:pt x="4762500" y="4885091"/>
                      <a:pt x="4351691" y="5295900"/>
                      <a:pt x="3830737" y="5295900"/>
                    </a:cubicBezTo>
                    <a:cubicBezTo>
                      <a:pt x="3327644" y="5295900"/>
                      <a:pt x="2901950" y="4885091"/>
                      <a:pt x="2901950" y="4367114"/>
                    </a:cubicBezTo>
                    <a:cubicBezTo>
                      <a:pt x="2901950" y="3849137"/>
                      <a:pt x="3327644" y="3435350"/>
                      <a:pt x="3830737" y="3435350"/>
                    </a:cubicBezTo>
                    <a:close/>
                    <a:moveTo>
                      <a:pt x="1154958" y="0"/>
                    </a:moveTo>
                    <a:cubicBezTo>
                      <a:pt x="1154958" y="0"/>
                      <a:pt x="1154958" y="0"/>
                      <a:pt x="4366813" y="0"/>
                    </a:cubicBezTo>
                    <a:cubicBezTo>
                      <a:pt x="4378720" y="0"/>
                      <a:pt x="4405510" y="11906"/>
                      <a:pt x="4420393" y="26789"/>
                    </a:cubicBezTo>
                    <a:cubicBezTo>
                      <a:pt x="4432300" y="38695"/>
                      <a:pt x="4432300" y="53578"/>
                      <a:pt x="4432300" y="65484"/>
                    </a:cubicBezTo>
                    <a:cubicBezTo>
                      <a:pt x="4432300" y="65484"/>
                      <a:pt x="4432300" y="65484"/>
                      <a:pt x="4432300" y="3515320"/>
                    </a:cubicBezTo>
                    <a:cubicBezTo>
                      <a:pt x="4393603" y="3488531"/>
                      <a:pt x="4351929" y="3461742"/>
                      <a:pt x="4298349" y="3437930"/>
                    </a:cubicBezTo>
                    <a:cubicBezTo>
                      <a:pt x="4298349" y="2839641"/>
                      <a:pt x="4298349" y="1845469"/>
                      <a:pt x="4298349" y="133945"/>
                    </a:cubicBezTo>
                    <a:cubicBezTo>
                      <a:pt x="4298349" y="133945"/>
                      <a:pt x="4298349" y="133945"/>
                      <a:pt x="1220445" y="133945"/>
                    </a:cubicBezTo>
                    <a:cubicBezTo>
                      <a:pt x="1220445" y="133945"/>
                      <a:pt x="1220445" y="133945"/>
                      <a:pt x="1220445" y="901899"/>
                    </a:cubicBezTo>
                    <a:cubicBezTo>
                      <a:pt x="1220445" y="901899"/>
                      <a:pt x="1220445" y="901899"/>
                      <a:pt x="3277342" y="901899"/>
                    </a:cubicBezTo>
                    <a:cubicBezTo>
                      <a:pt x="3292226" y="901899"/>
                      <a:pt x="3319016" y="916781"/>
                      <a:pt x="3330923" y="928688"/>
                    </a:cubicBezTo>
                    <a:cubicBezTo>
                      <a:pt x="3330923" y="940594"/>
                      <a:pt x="3342829" y="955477"/>
                      <a:pt x="3342829" y="967383"/>
                    </a:cubicBezTo>
                    <a:cubicBezTo>
                      <a:pt x="3342829" y="967383"/>
                      <a:pt x="3342829" y="967383"/>
                      <a:pt x="3342829" y="3449836"/>
                    </a:cubicBezTo>
                    <a:cubicBezTo>
                      <a:pt x="3292226" y="3476625"/>
                      <a:pt x="3250552" y="3515320"/>
                      <a:pt x="3211855" y="3542110"/>
                    </a:cubicBezTo>
                    <a:cubicBezTo>
                      <a:pt x="3211855" y="2946797"/>
                      <a:pt x="3211855" y="2137172"/>
                      <a:pt x="3211855" y="1035844"/>
                    </a:cubicBezTo>
                    <a:cubicBezTo>
                      <a:pt x="3211855" y="1035844"/>
                      <a:pt x="3211855" y="1035844"/>
                      <a:pt x="133951" y="1035844"/>
                    </a:cubicBezTo>
                    <a:cubicBezTo>
                      <a:pt x="133951" y="1035844"/>
                      <a:pt x="133951" y="1035844"/>
                      <a:pt x="133951" y="5200055"/>
                    </a:cubicBezTo>
                    <a:cubicBezTo>
                      <a:pt x="133951" y="5200055"/>
                      <a:pt x="133951" y="5200055"/>
                      <a:pt x="3211855" y="5200055"/>
                    </a:cubicBezTo>
                    <a:cubicBezTo>
                      <a:pt x="3211855" y="5200055"/>
                      <a:pt x="3211855" y="5200055"/>
                      <a:pt x="3211855" y="5188149"/>
                    </a:cubicBezTo>
                    <a:cubicBezTo>
                      <a:pt x="3250552" y="5226844"/>
                      <a:pt x="3292226" y="5253633"/>
                      <a:pt x="3342829" y="5280422"/>
                    </a:cubicBezTo>
                    <a:cubicBezTo>
                      <a:pt x="3342829" y="5295305"/>
                      <a:pt x="3330923" y="5307211"/>
                      <a:pt x="3330923" y="5322094"/>
                    </a:cubicBezTo>
                    <a:cubicBezTo>
                      <a:pt x="3319016" y="5322094"/>
                      <a:pt x="3292226" y="5334000"/>
                      <a:pt x="3277342" y="5334000"/>
                    </a:cubicBezTo>
                    <a:cubicBezTo>
                      <a:pt x="3277342" y="5334000"/>
                      <a:pt x="3277342" y="5334000"/>
                      <a:pt x="65487" y="5334000"/>
                    </a:cubicBezTo>
                    <a:cubicBezTo>
                      <a:pt x="53581" y="5334000"/>
                      <a:pt x="26790" y="5322094"/>
                      <a:pt x="11907" y="5322094"/>
                    </a:cubicBezTo>
                    <a:cubicBezTo>
                      <a:pt x="0" y="5307211"/>
                      <a:pt x="0" y="5280422"/>
                      <a:pt x="0" y="5268516"/>
                    </a:cubicBezTo>
                    <a:cubicBezTo>
                      <a:pt x="0" y="5268516"/>
                      <a:pt x="0" y="5268516"/>
                      <a:pt x="0" y="967383"/>
                    </a:cubicBezTo>
                    <a:cubicBezTo>
                      <a:pt x="0" y="955477"/>
                      <a:pt x="0" y="940594"/>
                      <a:pt x="11907" y="928688"/>
                    </a:cubicBezTo>
                    <a:cubicBezTo>
                      <a:pt x="26790" y="916781"/>
                      <a:pt x="53581" y="901899"/>
                      <a:pt x="65487" y="901899"/>
                    </a:cubicBezTo>
                    <a:cubicBezTo>
                      <a:pt x="65487" y="901899"/>
                      <a:pt x="65487" y="901899"/>
                      <a:pt x="1089471" y="901899"/>
                    </a:cubicBezTo>
                    <a:cubicBezTo>
                      <a:pt x="1089471" y="901899"/>
                      <a:pt x="1089471" y="901899"/>
                      <a:pt x="1089471" y="65484"/>
                    </a:cubicBezTo>
                    <a:cubicBezTo>
                      <a:pt x="1089471" y="53578"/>
                      <a:pt x="1101378" y="38695"/>
                      <a:pt x="1101378" y="26789"/>
                    </a:cubicBezTo>
                    <a:cubicBezTo>
                      <a:pt x="1113284" y="11906"/>
                      <a:pt x="1140075" y="0"/>
                      <a:pt x="115495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algn="r" defTabSz="914400" rtl="1" eaLnBrk="1" latinLnBrk="0" hangingPunct="1"/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87CBA252-6740-454A-A3F7-9A0141DA6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7944" y="3265932"/>
                <a:ext cx="934593" cy="708660"/>
              </a:xfrm>
              <a:custGeom>
                <a:avLst/>
                <a:gdLst>
                  <a:gd name="connsiteX0" fmla="*/ 65485 w 3894138"/>
                  <a:gd name="connsiteY0" fmla="*/ 2554288 h 2952750"/>
                  <a:gd name="connsiteX1" fmla="*/ 2244329 w 3894138"/>
                  <a:gd name="connsiteY1" fmla="*/ 2554288 h 2952750"/>
                  <a:gd name="connsiteX2" fmla="*/ 2309813 w 3894138"/>
                  <a:gd name="connsiteY2" fmla="*/ 2619773 h 2952750"/>
                  <a:gd name="connsiteX3" fmla="*/ 2244329 w 3894138"/>
                  <a:gd name="connsiteY3" fmla="*/ 2673351 h 2952750"/>
                  <a:gd name="connsiteX4" fmla="*/ 65485 w 3894138"/>
                  <a:gd name="connsiteY4" fmla="*/ 2673351 h 2952750"/>
                  <a:gd name="connsiteX5" fmla="*/ 0 w 3894138"/>
                  <a:gd name="connsiteY5" fmla="*/ 2619773 h 2952750"/>
                  <a:gd name="connsiteX6" fmla="*/ 65485 w 3894138"/>
                  <a:gd name="connsiteY6" fmla="*/ 2554288 h 2952750"/>
                  <a:gd name="connsiteX7" fmla="*/ 1379728 w 3894138"/>
                  <a:gd name="connsiteY7" fmla="*/ 2128838 h 2952750"/>
                  <a:gd name="connsiteX8" fmla="*/ 1525141 w 3894138"/>
                  <a:gd name="connsiteY8" fmla="*/ 2128838 h 2952750"/>
                  <a:gd name="connsiteX9" fmla="*/ 2244329 w 3894138"/>
                  <a:gd name="connsiteY9" fmla="*/ 2128838 h 2952750"/>
                  <a:gd name="connsiteX10" fmla="*/ 2309813 w 3894138"/>
                  <a:gd name="connsiteY10" fmla="*/ 2194323 h 2952750"/>
                  <a:gd name="connsiteX11" fmla="*/ 2244329 w 3894138"/>
                  <a:gd name="connsiteY11" fmla="*/ 2247901 h 2952750"/>
                  <a:gd name="connsiteX12" fmla="*/ 1435308 w 3894138"/>
                  <a:gd name="connsiteY12" fmla="*/ 2247901 h 2952750"/>
                  <a:gd name="connsiteX13" fmla="*/ 1329502 w 3894138"/>
                  <a:gd name="connsiteY13" fmla="*/ 2247901 h 2952750"/>
                  <a:gd name="connsiteX14" fmla="*/ 65485 w 3894138"/>
                  <a:gd name="connsiteY14" fmla="*/ 2128838 h 2952750"/>
                  <a:gd name="connsiteX15" fmla="*/ 984685 w 3894138"/>
                  <a:gd name="connsiteY15" fmla="*/ 2128838 h 2952750"/>
                  <a:gd name="connsiteX16" fmla="*/ 1023938 w 3894138"/>
                  <a:gd name="connsiteY16" fmla="*/ 2128838 h 2952750"/>
                  <a:gd name="connsiteX17" fmla="*/ 1023938 w 3894138"/>
                  <a:gd name="connsiteY17" fmla="*/ 2247901 h 2952750"/>
                  <a:gd name="connsiteX18" fmla="*/ 935547 w 3894138"/>
                  <a:gd name="connsiteY18" fmla="*/ 2247901 h 2952750"/>
                  <a:gd name="connsiteX19" fmla="*/ 65485 w 3894138"/>
                  <a:gd name="connsiteY19" fmla="*/ 2247901 h 2952750"/>
                  <a:gd name="connsiteX20" fmla="*/ 0 w 3894138"/>
                  <a:gd name="connsiteY20" fmla="*/ 2194323 h 2952750"/>
                  <a:gd name="connsiteX21" fmla="*/ 65485 w 3894138"/>
                  <a:gd name="connsiteY21" fmla="*/ 2128838 h 2952750"/>
                  <a:gd name="connsiteX22" fmla="*/ 3587751 w 3894138"/>
                  <a:gd name="connsiteY22" fmla="*/ 2114550 h 2952750"/>
                  <a:gd name="connsiteX23" fmla="*/ 3218657 w 3894138"/>
                  <a:gd name="connsiteY23" fmla="*/ 2260059 h 2952750"/>
                  <a:gd name="connsiteX24" fmla="*/ 3114477 w 3894138"/>
                  <a:gd name="connsiteY24" fmla="*/ 2366963 h 2952750"/>
                  <a:gd name="connsiteX25" fmla="*/ 3218657 w 3894138"/>
                  <a:gd name="connsiteY25" fmla="*/ 2592649 h 2952750"/>
                  <a:gd name="connsiteX26" fmla="*/ 3429993 w 3894138"/>
                  <a:gd name="connsiteY26" fmla="*/ 2485745 h 2952750"/>
                  <a:gd name="connsiteX27" fmla="*/ 3587751 w 3894138"/>
                  <a:gd name="connsiteY27" fmla="*/ 2114550 h 2952750"/>
                  <a:gd name="connsiteX28" fmla="*/ 3284156 w 3894138"/>
                  <a:gd name="connsiteY28" fmla="*/ 1822450 h 2952750"/>
                  <a:gd name="connsiteX29" fmla="*/ 3284156 w 3894138"/>
                  <a:gd name="connsiteY29" fmla="*/ 1929531 h 2952750"/>
                  <a:gd name="connsiteX30" fmla="*/ 3325813 w 3894138"/>
                  <a:gd name="connsiteY30" fmla="*/ 1968199 h 2952750"/>
                  <a:gd name="connsiteX31" fmla="*/ 3364495 w 3894138"/>
                  <a:gd name="connsiteY31" fmla="*/ 1929531 h 2952750"/>
                  <a:gd name="connsiteX32" fmla="*/ 3364495 w 3894138"/>
                  <a:gd name="connsiteY32" fmla="*/ 1822450 h 2952750"/>
                  <a:gd name="connsiteX33" fmla="*/ 3894138 w 3894138"/>
                  <a:gd name="connsiteY33" fmla="*/ 2340009 h 2952750"/>
                  <a:gd name="connsiteX34" fmla="*/ 3775117 w 3894138"/>
                  <a:gd name="connsiteY34" fmla="*/ 2340009 h 2952750"/>
                  <a:gd name="connsiteX35" fmla="*/ 3733460 w 3894138"/>
                  <a:gd name="connsiteY35" fmla="*/ 2381651 h 2952750"/>
                  <a:gd name="connsiteX36" fmla="*/ 3775117 w 3894138"/>
                  <a:gd name="connsiteY36" fmla="*/ 2408422 h 2952750"/>
                  <a:gd name="connsiteX37" fmla="*/ 3894138 w 3894138"/>
                  <a:gd name="connsiteY37" fmla="*/ 2408422 h 2952750"/>
                  <a:gd name="connsiteX38" fmla="*/ 3364495 w 3894138"/>
                  <a:gd name="connsiteY38" fmla="*/ 2952750 h 2952750"/>
                  <a:gd name="connsiteX39" fmla="*/ 3364495 w 3894138"/>
                  <a:gd name="connsiteY39" fmla="*/ 2818899 h 2952750"/>
                  <a:gd name="connsiteX40" fmla="*/ 3325813 w 3894138"/>
                  <a:gd name="connsiteY40" fmla="*/ 2780231 h 2952750"/>
                  <a:gd name="connsiteX41" fmla="*/ 3284156 w 3894138"/>
                  <a:gd name="connsiteY41" fmla="*/ 2818899 h 2952750"/>
                  <a:gd name="connsiteX42" fmla="*/ 3284156 w 3894138"/>
                  <a:gd name="connsiteY42" fmla="*/ 2952750 h 2952750"/>
                  <a:gd name="connsiteX43" fmla="*/ 2757488 w 3894138"/>
                  <a:gd name="connsiteY43" fmla="*/ 2408422 h 2952750"/>
                  <a:gd name="connsiteX44" fmla="*/ 2876509 w 3894138"/>
                  <a:gd name="connsiteY44" fmla="*/ 2408422 h 2952750"/>
                  <a:gd name="connsiteX45" fmla="*/ 2915191 w 3894138"/>
                  <a:gd name="connsiteY45" fmla="*/ 2381651 h 2952750"/>
                  <a:gd name="connsiteX46" fmla="*/ 2876509 w 3894138"/>
                  <a:gd name="connsiteY46" fmla="*/ 2340009 h 2952750"/>
                  <a:gd name="connsiteX47" fmla="*/ 2757488 w 3894138"/>
                  <a:gd name="connsiteY47" fmla="*/ 2340009 h 2952750"/>
                  <a:gd name="connsiteX48" fmla="*/ 3284156 w 3894138"/>
                  <a:gd name="connsiteY48" fmla="*/ 1822450 h 2952750"/>
                  <a:gd name="connsiteX49" fmla="*/ 1559199 w 3894138"/>
                  <a:gd name="connsiteY49" fmla="*/ 1703388 h 2952750"/>
                  <a:gd name="connsiteX50" fmla="*/ 1687184 w 3894138"/>
                  <a:gd name="connsiteY50" fmla="*/ 1703388 h 2952750"/>
                  <a:gd name="connsiteX51" fmla="*/ 2244329 w 3894138"/>
                  <a:gd name="connsiteY51" fmla="*/ 1703388 h 2952750"/>
                  <a:gd name="connsiteX52" fmla="*/ 2309813 w 3894138"/>
                  <a:gd name="connsiteY52" fmla="*/ 1771961 h 2952750"/>
                  <a:gd name="connsiteX53" fmla="*/ 2244329 w 3894138"/>
                  <a:gd name="connsiteY53" fmla="*/ 1825626 h 2952750"/>
                  <a:gd name="connsiteX54" fmla="*/ 1536311 w 3894138"/>
                  <a:gd name="connsiteY54" fmla="*/ 1825626 h 2952750"/>
                  <a:gd name="connsiteX55" fmla="*/ 1507634 w 3894138"/>
                  <a:gd name="connsiteY55" fmla="*/ 1825626 h 2952750"/>
                  <a:gd name="connsiteX56" fmla="*/ 65485 w 3894138"/>
                  <a:gd name="connsiteY56" fmla="*/ 1703388 h 2952750"/>
                  <a:gd name="connsiteX57" fmla="*/ 337841 w 3894138"/>
                  <a:gd name="connsiteY57" fmla="*/ 1703388 h 2952750"/>
                  <a:gd name="connsiteX58" fmla="*/ 450850 w 3894138"/>
                  <a:gd name="connsiteY58" fmla="*/ 1703388 h 2952750"/>
                  <a:gd name="connsiteX59" fmla="*/ 453273 w 3894138"/>
                  <a:gd name="connsiteY59" fmla="*/ 1703388 h 2952750"/>
                  <a:gd name="connsiteX60" fmla="*/ 984685 w 3894138"/>
                  <a:gd name="connsiteY60" fmla="*/ 1703388 h 2952750"/>
                  <a:gd name="connsiteX61" fmla="*/ 1023938 w 3894138"/>
                  <a:gd name="connsiteY61" fmla="*/ 1703388 h 2952750"/>
                  <a:gd name="connsiteX62" fmla="*/ 1023938 w 3894138"/>
                  <a:gd name="connsiteY62" fmla="*/ 1825626 h 2952750"/>
                  <a:gd name="connsiteX63" fmla="*/ 935547 w 3894138"/>
                  <a:gd name="connsiteY63" fmla="*/ 1825626 h 2952750"/>
                  <a:gd name="connsiteX64" fmla="*/ 65485 w 3894138"/>
                  <a:gd name="connsiteY64" fmla="*/ 1825626 h 2952750"/>
                  <a:gd name="connsiteX65" fmla="*/ 0 w 3894138"/>
                  <a:gd name="connsiteY65" fmla="*/ 1771961 h 2952750"/>
                  <a:gd name="connsiteX66" fmla="*/ 65485 w 3894138"/>
                  <a:gd name="connsiteY66" fmla="*/ 1703388 h 2952750"/>
                  <a:gd name="connsiteX67" fmla="*/ 1737331 w 3894138"/>
                  <a:gd name="connsiteY67" fmla="*/ 1281113 h 2952750"/>
                  <a:gd name="connsiteX68" fmla="*/ 1860797 w 3894138"/>
                  <a:gd name="connsiteY68" fmla="*/ 1281113 h 2952750"/>
                  <a:gd name="connsiteX69" fmla="*/ 2244329 w 3894138"/>
                  <a:gd name="connsiteY69" fmla="*/ 1281113 h 2952750"/>
                  <a:gd name="connsiteX70" fmla="*/ 2309813 w 3894138"/>
                  <a:gd name="connsiteY70" fmla="*/ 1346598 h 2952750"/>
                  <a:gd name="connsiteX71" fmla="*/ 2244329 w 3894138"/>
                  <a:gd name="connsiteY71" fmla="*/ 1400176 h 2952750"/>
                  <a:gd name="connsiteX72" fmla="*/ 1712385 w 3894138"/>
                  <a:gd name="connsiteY72" fmla="*/ 1400176 h 2952750"/>
                  <a:gd name="connsiteX73" fmla="*/ 1687106 w 3894138"/>
                  <a:gd name="connsiteY73" fmla="*/ 1400176 h 2952750"/>
                  <a:gd name="connsiteX74" fmla="*/ 65485 w 3894138"/>
                  <a:gd name="connsiteY74" fmla="*/ 1281113 h 2952750"/>
                  <a:gd name="connsiteX75" fmla="*/ 597430 w 3894138"/>
                  <a:gd name="connsiteY75" fmla="*/ 1281113 h 2952750"/>
                  <a:gd name="connsiteX76" fmla="*/ 629953 w 3894138"/>
                  <a:gd name="connsiteY76" fmla="*/ 1281113 h 2952750"/>
                  <a:gd name="connsiteX77" fmla="*/ 579454 w 3894138"/>
                  <a:gd name="connsiteY77" fmla="*/ 1400176 h 2952750"/>
                  <a:gd name="connsiteX78" fmla="*/ 449017 w 3894138"/>
                  <a:gd name="connsiteY78" fmla="*/ 1400176 h 2952750"/>
                  <a:gd name="connsiteX79" fmla="*/ 65485 w 3894138"/>
                  <a:gd name="connsiteY79" fmla="*/ 1400176 h 2952750"/>
                  <a:gd name="connsiteX80" fmla="*/ 0 w 3894138"/>
                  <a:gd name="connsiteY80" fmla="*/ 1346598 h 2952750"/>
                  <a:gd name="connsiteX81" fmla="*/ 65485 w 3894138"/>
                  <a:gd name="connsiteY81" fmla="*/ 1281113 h 2952750"/>
                  <a:gd name="connsiteX82" fmla="*/ 1285875 w 3894138"/>
                  <a:gd name="connsiteY82" fmla="*/ 855663 h 2952750"/>
                  <a:gd name="connsiteX83" fmla="*/ 1374268 w 3894138"/>
                  <a:gd name="connsiteY83" fmla="*/ 855663 h 2952750"/>
                  <a:gd name="connsiteX84" fmla="*/ 2244329 w 3894138"/>
                  <a:gd name="connsiteY84" fmla="*/ 855663 h 2952750"/>
                  <a:gd name="connsiteX85" fmla="*/ 2309813 w 3894138"/>
                  <a:gd name="connsiteY85" fmla="*/ 924124 h 2952750"/>
                  <a:gd name="connsiteX86" fmla="*/ 2244329 w 3894138"/>
                  <a:gd name="connsiteY86" fmla="*/ 974726 h 2952750"/>
                  <a:gd name="connsiteX87" fmla="*/ 1325129 w 3894138"/>
                  <a:gd name="connsiteY87" fmla="*/ 974726 h 2952750"/>
                  <a:gd name="connsiteX88" fmla="*/ 1285875 w 3894138"/>
                  <a:gd name="connsiteY88" fmla="*/ 974726 h 2952750"/>
                  <a:gd name="connsiteX89" fmla="*/ 65485 w 3894138"/>
                  <a:gd name="connsiteY89" fmla="*/ 855663 h 2952750"/>
                  <a:gd name="connsiteX90" fmla="*/ 773503 w 3894138"/>
                  <a:gd name="connsiteY90" fmla="*/ 855663 h 2952750"/>
                  <a:gd name="connsiteX91" fmla="*/ 810403 w 3894138"/>
                  <a:gd name="connsiteY91" fmla="*/ 855663 h 2952750"/>
                  <a:gd name="connsiteX92" fmla="*/ 759903 w 3894138"/>
                  <a:gd name="connsiteY92" fmla="*/ 974726 h 2952750"/>
                  <a:gd name="connsiteX93" fmla="*/ 622630 w 3894138"/>
                  <a:gd name="connsiteY93" fmla="*/ 974726 h 2952750"/>
                  <a:gd name="connsiteX94" fmla="*/ 65485 w 3894138"/>
                  <a:gd name="connsiteY94" fmla="*/ 974726 h 2952750"/>
                  <a:gd name="connsiteX95" fmla="*/ 0 w 3894138"/>
                  <a:gd name="connsiteY95" fmla="*/ 924124 h 2952750"/>
                  <a:gd name="connsiteX96" fmla="*/ 65485 w 3894138"/>
                  <a:gd name="connsiteY96" fmla="*/ 855663 h 2952750"/>
                  <a:gd name="connsiteX97" fmla="*/ 1285875 w 3894138"/>
                  <a:gd name="connsiteY97" fmla="*/ 431800 h 2952750"/>
                  <a:gd name="connsiteX98" fmla="*/ 1374268 w 3894138"/>
                  <a:gd name="connsiteY98" fmla="*/ 431800 h 2952750"/>
                  <a:gd name="connsiteX99" fmla="*/ 2244329 w 3894138"/>
                  <a:gd name="connsiteY99" fmla="*/ 431800 h 2952750"/>
                  <a:gd name="connsiteX100" fmla="*/ 2309813 w 3894138"/>
                  <a:gd name="connsiteY100" fmla="*/ 497285 h 2952750"/>
                  <a:gd name="connsiteX101" fmla="*/ 2244329 w 3894138"/>
                  <a:gd name="connsiteY101" fmla="*/ 550863 h 2952750"/>
                  <a:gd name="connsiteX102" fmla="*/ 1325129 w 3894138"/>
                  <a:gd name="connsiteY102" fmla="*/ 550863 h 2952750"/>
                  <a:gd name="connsiteX103" fmla="*/ 1285875 w 3894138"/>
                  <a:gd name="connsiteY103" fmla="*/ 550863 h 2952750"/>
                  <a:gd name="connsiteX104" fmla="*/ 65485 w 3894138"/>
                  <a:gd name="connsiteY104" fmla="*/ 431800 h 2952750"/>
                  <a:gd name="connsiteX105" fmla="*/ 984685 w 3894138"/>
                  <a:gd name="connsiteY105" fmla="*/ 431800 h 2952750"/>
                  <a:gd name="connsiteX106" fmla="*/ 990179 w 3894138"/>
                  <a:gd name="connsiteY106" fmla="*/ 431800 h 2952750"/>
                  <a:gd name="connsiteX107" fmla="*/ 939680 w 3894138"/>
                  <a:gd name="connsiteY107" fmla="*/ 550863 h 2952750"/>
                  <a:gd name="connsiteX108" fmla="*/ 935547 w 3894138"/>
                  <a:gd name="connsiteY108" fmla="*/ 550863 h 2952750"/>
                  <a:gd name="connsiteX109" fmla="*/ 65485 w 3894138"/>
                  <a:gd name="connsiteY109" fmla="*/ 550863 h 2952750"/>
                  <a:gd name="connsiteX110" fmla="*/ 0 w 3894138"/>
                  <a:gd name="connsiteY110" fmla="*/ 497285 h 2952750"/>
                  <a:gd name="connsiteX111" fmla="*/ 65485 w 3894138"/>
                  <a:gd name="connsiteY111" fmla="*/ 431800 h 2952750"/>
                  <a:gd name="connsiteX112" fmla="*/ 1155701 w 3894138"/>
                  <a:gd name="connsiteY112" fmla="*/ 376238 h 2952750"/>
                  <a:gd name="connsiteX113" fmla="*/ 1155701 w 3894138"/>
                  <a:gd name="connsiteY113" fmla="*/ 1120074 h 2952750"/>
                  <a:gd name="connsiteX114" fmla="*/ 1665288 w 3894138"/>
                  <a:gd name="connsiteY114" fmla="*/ 1120074 h 2952750"/>
                  <a:gd name="connsiteX115" fmla="*/ 1155701 w 3894138"/>
                  <a:gd name="connsiteY115" fmla="*/ 2316163 h 2952750"/>
                  <a:gd name="connsiteX116" fmla="*/ 1155701 w 3894138"/>
                  <a:gd name="connsiteY116" fmla="*/ 1572327 h 2952750"/>
                  <a:gd name="connsiteX117" fmla="*/ 646113 w 3894138"/>
                  <a:gd name="connsiteY117" fmla="*/ 1572327 h 2952750"/>
                  <a:gd name="connsiteX118" fmla="*/ 1155701 w 3894138"/>
                  <a:gd name="connsiteY118" fmla="*/ 376238 h 2952750"/>
                  <a:gd name="connsiteX119" fmla="*/ 65485 w 3894138"/>
                  <a:gd name="connsiteY119" fmla="*/ 0 h 2952750"/>
                  <a:gd name="connsiteX120" fmla="*/ 2244329 w 3894138"/>
                  <a:gd name="connsiteY120" fmla="*/ 0 h 2952750"/>
                  <a:gd name="connsiteX121" fmla="*/ 2309813 w 3894138"/>
                  <a:gd name="connsiteY121" fmla="*/ 65882 h 2952750"/>
                  <a:gd name="connsiteX122" fmla="*/ 2244329 w 3894138"/>
                  <a:gd name="connsiteY122" fmla="*/ 131763 h 2952750"/>
                  <a:gd name="connsiteX123" fmla="*/ 65485 w 3894138"/>
                  <a:gd name="connsiteY123" fmla="*/ 131763 h 2952750"/>
                  <a:gd name="connsiteX124" fmla="*/ 0 w 3894138"/>
                  <a:gd name="connsiteY124" fmla="*/ 65882 h 2952750"/>
                  <a:gd name="connsiteX125" fmla="*/ 65485 w 3894138"/>
                  <a:gd name="connsiteY125" fmla="*/ 0 h 295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</a:cxnLst>
                <a:rect l="l" t="t" r="r" b="b"/>
                <a:pathLst>
                  <a:path w="3894138" h="2952750">
                    <a:moveTo>
                      <a:pt x="65485" y="2554288"/>
                    </a:moveTo>
                    <a:cubicBezTo>
                      <a:pt x="65485" y="2554288"/>
                      <a:pt x="65485" y="2554288"/>
                      <a:pt x="2244329" y="2554288"/>
                    </a:cubicBezTo>
                    <a:cubicBezTo>
                      <a:pt x="2283024" y="2554288"/>
                      <a:pt x="2309813" y="2581077"/>
                      <a:pt x="2309813" y="2619773"/>
                    </a:cubicBezTo>
                    <a:cubicBezTo>
                      <a:pt x="2309813" y="2646562"/>
                      <a:pt x="2283024" y="2673351"/>
                      <a:pt x="2244329" y="2673351"/>
                    </a:cubicBezTo>
                    <a:cubicBezTo>
                      <a:pt x="2244329" y="2673351"/>
                      <a:pt x="2244329" y="2673351"/>
                      <a:pt x="65485" y="2673351"/>
                    </a:cubicBezTo>
                    <a:cubicBezTo>
                      <a:pt x="26789" y="2673351"/>
                      <a:pt x="0" y="2646562"/>
                      <a:pt x="0" y="2619773"/>
                    </a:cubicBezTo>
                    <a:cubicBezTo>
                      <a:pt x="0" y="2581077"/>
                      <a:pt x="26789" y="2554288"/>
                      <a:pt x="65485" y="2554288"/>
                    </a:cubicBezTo>
                    <a:close/>
                    <a:moveTo>
                      <a:pt x="1379728" y="2128838"/>
                    </a:moveTo>
                    <a:lnTo>
                      <a:pt x="1525141" y="2128838"/>
                    </a:lnTo>
                    <a:cubicBezTo>
                      <a:pt x="1733663" y="2128838"/>
                      <a:pt x="1971974" y="2128838"/>
                      <a:pt x="2244329" y="2128838"/>
                    </a:cubicBezTo>
                    <a:cubicBezTo>
                      <a:pt x="2283024" y="2128838"/>
                      <a:pt x="2309813" y="2155627"/>
                      <a:pt x="2309813" y="2194323"/>
                    </a:cubicBezTo>
                    <a:cubicBezTo>
                      <a:pt x="2309813" y="2221112"/>
                      <a:pt x="2283024" y="2247901"/>
                      <a:pt x="2244329" y="2247901"/>
                    </a:cubicBezTo>
                    <a:cubicBezTo>
                      <a:pt x="2244329" y="2247901"/>
                      <a:pt x="2244329" y="2247901"/>
                      <a:pt x="1435308" y="2247901"/>
                    </a:cubicBezTo>
                    <a:lnTo>
                      <a:pt x="1329502" y="2247901"/>
                    </a:lnTo>
                    <a:close/>
                    <a:moveTo>
                      <a:pt x="65485" y="2128838"/>
                    </a:moveTo>
                    <a:cubicBezTo>
                      <a:pt x="65485" y="2128838"/>
                      <a:pt x="65485" y="2128838"/>
                      <a:pt x="984685" y="2128838"/>
                    </a:cubicBezTo>
                    <a:lnTo>
                      <a:pt x="1023938" y="2128838"/>
                    </a:lnTo>
                    <a:lnTo>
                      <a:pt x="1023938" y="2247901"/>
                    </a:lnTo>
                    <a:lnTo>
                      <a:pt x="935547" y="2247901"/>
                    </a:lnTo>
                    <a:cubicBezTo>
                      <a:pt x="693180" y="2247901"/>
                      <a:pt x="405930" y="2247901"/>
                      <a:pt x="65485" y="2247901"/>
                    </a:cubicBezTo>
                    <a:cubicBezTo>
                      <a:pt x="26789" y="2247901"/>
                      <a:pt x="0" y="2221112"/>
                      <a:pt x="0" y="2194323"/>
                    </a:cubicBezTo>
                    <a:cubicBezTo>
                      <a:pt x="0" y="2155627"/>
                      <a:pt x="26789" y="2128838"/>
                      <a:pt x="65485" y="2128838"/>
                    </a:cubicBezTo>
                    <a:close/>
                    <a:moveTo>
                      <a:pt x="3587751" y="2114550"/>
                    </a:moveTo>
                    <a:cubicBezTo>
                      <a:pt x="3587751" y="2114550"/>
                      <a:pt x="3587751" y="2114550"/>
                      <a:pt x="3218657" y="2260059"/>
                    </a:cubicBezTo>
                    <a:cubicBezTo>
                      <a:pt x="3165079" y="2274906"/>
                      <a:pt x="3126384" y="2313511"/>
                      <a:pt x="3114477" y="2366963"/>
                    </a:cubicBezTo>
                    <a:cubicBezTo>
                      <a:pt x="3087688" y="2447141"/>
                      <a:pt x="3126384" y="2554045"/>
                      <a:pt x="3218657" y="2592649"/>
                    </a:cubicBezTo>
                    <a:cubicBezTo>
                      <a:pt x="3299024" y="2619375"/>
                      <a:pt x="3403204" y="2580771"/>
                      <a:pt x="3429993" y="2485745"/>
                    </a:cubicBezTo>
                    <a:cubicBezTo>
                      <a:pt x="3429993" y="2485745"/>
                      <a:pt x="3429993" y="2485745"/>
                      <a:pt x="3587751" y="2114550"/>
                    </a:cubicBezTo>
                    <a:close/>
                    <a:moveTo>
                      <a:pt x="3284156" y="1822450"/>
                    </a:moveTo>
                    <a:cubicBezTo>
                      <a:pt x="3284156" y="1822450"/>
                      <a:pt x="3284156" y="1822450"/>
                      <a:pt x="3284156" y="1929531"/>
                    </a:cubicBezTo>
                    <a:cubicBezTo>
                      <a:pt x="3284156" y="1956302"/>
                      <a:pt x="3299034" y="1968199"/>
                      <a:pt x="3325813" y="1968199"/>
                    </a:cubicBezTo>
                    <a:cubicBezTo>
                      <a:pt x="3349617" y="1968199"/>
                      <a:pt x="3364495" y="1956302"/>
                      <a:pt x="3364495" y="1929531"/>
                    </a:cubicBezTo>
                    <a:cubicBezTo>
                      <a:pt x="3364495" y="1929531"/>
                      <a:pt x="3364495" y="1929531"/>
                      <a:pt x="3364495" y="1822450"/>
                    </a:cubicBezTo>
                    <a:cubicBezTo>
                      <a:pt x="3656096" y="1834348"/>
                      <a:pt x="3879261" y="2060408"/>
                      <a:pt x="3894138" y="2340009"/>
                    </a:cubicBezTo>
                    <a:cubicBezTo>
                      <a:pt x="3894138" y="2340009"/>
                      <a:pt x="3894138" y="2340009"/>
                      <a:pt x="3775117" y="2340009"/>
                    </a:cubicBezTo>
                    <a:cubicBezTo>
                      <a:pt x="3760240" y="2340009"/>
                      <a:pt x="3733460" y="2354881"/>
                      <a:pt x="3733460" y="2381651"/>
                    </a:cubicBezTo>
                    <a:cubicBezTo>
                      <a:pt x="3733460" y="2393549"/>
                      <a:pt x="3760240" y="2408422"/>
                      <a:pt x="3775117" y="2408422"/>
                    </a:cubicBezTo>
                    <a:cubicBezTo>
                      <a:pt x="3775117" y="2408422"/>
                      <a:pt x="3775117" y="2408422"/>
                      <a:pt x="3894138" y="2408422"/>
                    </a:cubicBezTo>
                    <a:cubicBezTo>
                      <a:pt x="3879261" y="2699920"/>
                      <a:pt x="3656096" y="2925980"/>
                      <a:pt x="3364495" y="2952750"/>
                    </a:cubicBezTo>
                    <a:cubicBezTo>
                      <a:pt x="3364495" y="2952750"/>
                      <a:pt x="3364495" y="2952750"/>
                      <a:pt x="3364495" y="2818899"/>
                    </a:cubicBezTo>
                    <a:cubicBezTo>
                      <a:pt x="3364495" y="2807001"/>
                      <a:pt x="3349617" y="2780231"/>
                      <a:pt x="3325813" y="2780231"/>
                    </a:cubicBezTo>
                    <a:cubicBezTo>
                      <a:pt x="3299034" y="2780231"/>
                      <a:pt x="3284156" y="2807001"/>
                      <a:pt x="3284156" y="2818899"/>
                    </a:cubicBezTo>
                    <a:cubicBezTo>
                      <a:pt x="3284156" y="2818899"/>
                      <a:pt x="3284156" y="2818899"/>
                      <a:pt x="3284156" y="2952750"/>
                    </a:cubicBezTo>
                    <a:cubicBezTo>
                      <a:pt x="3007432" y="2925980"/>
                      <a:pt x="2769390" y="2699920"/>
                      <a:pt x="2757488" y="2408422"/>
                    </a:cubicBezTo>
                    <a:cubicBezTo>
                      <a:pt x="2757488" y="2408422"/>
                      <a:pt x="2757488" y="2408422"/>
                      <a:pt x="2876509" y="2408422"/>
                    </a:cubicBezTo>
                    <a:cubicBezTo>
                      <a:pt x="2888411" y="2408422"/>
                      <a:pt x="2915191" y="2393549"/>
                      <a:pt x="2915191" y="2381651"/>
                    </a:cubicBezTo>
                    <a:cubicBezTo>
                      <a:pt x="2915191" y="2354881"/>
                      <a:pt x="2888411" y="2340009"/>
                      <a:pt x="2876509" y="2340009"/>
                    </a:cubicBezTo>
                    <a:cubicBezTo>
                      <a:pt x="2876509" y="2340009"/>
                      <a:pt x="2876509" y="2340009"/>
                      <a:pt x="2757488" y="2340009"/>
                    </a:cubicBezTo>
                    <a:cubicBezTo>
                      <a:pt x="2769390" y="2060408"/>
                      <a:pt x="3007432" y="1834348"/>
                      <a:pt x="3284156" y="1822450"/>
                    </a:cubicBezTo>
                    <a:close/>
                    <a:moveTo>
                      <a:pt x="1559199" y="1703388"/>
                    </a:moveTo>
                    <a:lnTo>
                      <a:pt x="1687184" y="1703388"/>
                    </a:lnTo>
                    <a:cubicBezTo>
                      <a:pt x="1854946" y="1703388"/>
                      <a:pt x="2040063" y="1703388"/>
                      <a:pt x="2244329" y="1703388"/>
                    </a:cubicBezTo>
                    <a:cubicBezTo>
                      <a:pt x="2283024" y="1703388"/>
                      <a:pt x="2309813" y="1730221"/>
                      <a:pt x="2309813" y="1771961"/>
                    </a:cubicBezTo>
                    <a:cubicBezTo>
                      <a:pt x="2309813" y="1798794"/>
                      <a:pt x="2283024" y="1825626"/>
                      <a:pt x="2244329" y="1825626"/>
                    </a:cubicBezTo>
                    <a:cubicBezTo>
                      <a:pt x="2244329" y="1825626"/>
                      <a:pt x="2244329" y="1825626"/>
                      <a:pt x="1536311" y="1825626"/>
                    </a:cubicBezTo>
                    <a:lnTo>
                      <a:pt x="1507634" y="1825626"/>
                    </a:lnTo>
                    <a:close/>
                    <a:moveTo>
                      <a:pt x="65485" y="1703388"/>
                    </a:moveTo>
                    <a:cubicBezTo>
                      <a:pt x="65485" y="1703388"/>
                      <a:pt x="65485" y="1703388"/>
                      <a:pt x="337841" y="1703388"/>
                    </a:cubicBezTo>
                    <a:lnTo>
                      <a:pt x="450850" y="1703388"/>
                    </a:lnTo>
                    <a:lnTo>
                      <a:pt x="453273" y="1703388"/>
                    </a:lnTo>
                    <a:cubicBezTo>
                      <a:pt x="582535" y="1703388"/>
                      <a:pt x="754885" y="1703388"/>
                      <a:pt x="984685" y="1703388"/>
                    </a:cubicBezTo>
                    <a:lnTo>
                      <a:pt x="1023938" y="1703388"/>
                    </a:lnTo>
                    <a:lnTo>
                      <a:pt x="1023938" y="1825626"/>
                    </a:lnTo>
                    <a:lnTo>
                      <a:pt x="935547" y="1825626"/>
                    </a:lnTo>
                    <a:cubicBezTo>
                      <a:pt x="693180" y="1825626"/>
                      <a:pt x="405930" y="1825626"/>
                      <a:pt x="65485" y="1825626"/>
                    </a:cubicBezTo>
                    <a:cubicBezTo>
                      <a:pt x="26789" y="1825626"/>
                      <a:pt x="0" y="1798794"/>
                      <a:pt x="0" y="1771961"/>
                    </a:cubicBezTo>
                    <a:cubicBezTo>
                      <a:pt x="0" y="1730221"/>
                      <a:pt x="26789" y="1703388"/>
                      <a:pt x="65485" y="1703388"/>
                    </a:cubicBezTo>
                    <a:close/>
                    <a:moveTo>
                      <a:pt x="1737331" y="1281113"/>
                    </a:moveTo>
                    <a:lnTo>
                      <a:pt x="1860797" y="1281113"/>
                    </a:lnTo>
                    <a:cubicBezTo>
                      <a:pt x="1980485" y="1281113"/>
                      <a:pt x="2108152" y="1281113"/>
                      <a:pt x="2244329" y="1281113"/>
                    </a:cubicBezTo>
                    <a:cubicBezTo>
                      <a:pt x="2283024" y="1281113"/>
                      <a:pt x="2309813" y="1307902"/>
                      <a:pt x="2309813" y="1346598"/>
                    </a:cubicBezTo>
                    <a:cubicBezTo>
                      <a:pt x="2309813" y="1373387"/>
                      <a:pt x="2283024" y="1400176"/>
                      <a:pt x="2244329" y="1400176"/>
                    </a:cubicBezTo>
                    <a:cubicBezTo>
                      <a:pt x="2244329" y="1400176"/>
                      <a:pt x="2244329" y="1400176"/>
                      <a:pt x="1712385" y="1400176"/>
                    </a:cubicBezTo>
                    <a:lnTo>
                      <a:pt x="1687106" y="1400176"/>
                    </a:lnTo>
                    <a:close/>
                    <a:moveTo>
                      <a:pt x="65485" y="1281113"/>
                    </a:moveTo>
                    <a:cubicBezTo>
                      <a:pt x="65485" y="1281113"/>
                      <a:pt x="65485" y="1281113"/>
                      <a:pt x="597430" y="1281113"/>
                    </a:cubicBezTo>
                    <a:lnTo>
                      <a:pt x="629953" y="1281113"/>
                    </a:lnTo>
                    <a:lnTo>
                      <a:pt x="579454" y="1400176"/>
                    </a:lnTo>
                    <a:lnTo>
                      <a:pt x="449017" y="1400176"/>
                    </a:lnTo>
                    <a:cubicBezTo>
                      <a:pt x="329330" y="1400176"/>
                      <a:pt x="201663" y="1400176"/>
                      <a:pt x="65485" y="1400176"/>
                    </a:cubicBezTo>
                    <a:cubicBezTo>
                      <a:pt x="26789" y="1400176"/>
                      <a:pt x="0" y="1373387"/>
                      <a:pt x="0" y="1346598"/>
                    </a:cubicBezTo>
                    <a:cubicBezTo>
                      <a:pt x="0" y="1307902"/>
                      <a:pt x="26789" y="1281113"/>
                      <a:pt x="65485" y="1281113"/>
                    </a:cubicBezTo>
                    <a:close/>
                    <a:moveTo>
                      <a:pt x="1285875" y="855663"/>
                    </a:moveTo>
                    <a:lnTo>
                      <a:pt x="1374268" y="855663"/>
                    </a:lnTo>
                    <a:cubicBezTo>
                      <a:pt x="1616635" y="855663"/>
                      <a:pt x="1903885" y="855663"/>
                      <a:pt x="2244329" y="855663"/>
                    </a:cubicBezTo>
                    <a:cubicBezTo>
                      <a:pt x="2283024" y="855663"/>
                      <a:pt x="2309813" y="882452"/>
                      <a:pt x="2309813" y="924124"/>
                    </a:cubicBezTo>
                    <a:cubicBezTo>
                      <a:pt x="2309813" y="947937"/>
                      <a:pt x="2283024" y="974726"/>
                      <a:pt x="2244329" y="974726"/>
                    </a:cubicBezTo>
                    <a:cubicBezTo>
                      <a:pt x="2244329" y="974726"/>
                      <a:pt x="2244329" y="974726"/>
                      <a:pt x="1325129" y="974726"/>
                    </a:cubicBezTo>
                    <a:lnTo>
                      <a:pt x="1285875" y="974726"/>
                    </a:lnTo>
                    <a:close/>
                    <a:moveTo>
                      <a:pt x="65485" y="855663"/>
                    </a:moveTo>
                    <a:cubicBezTo>
                      <a:pt x="65485" y="855663"/>
                      <a:pt x="65485" y="855663"/>
                      <a:pt x="773503" y="855663"/>
                    </a:cubicBezTo>
                    <a:lnTo>
                      <a:pt x="810403" y="855663"/>
                    </a:lnTo>
                    <a:lnTo>
                      <a:pt x="759903" y="974726"/>
                    </a:lnTo>
                    <a:lnTo>
                      <a:pt x="622630" y="974726"/>
                    </a:lnTo>
                    <a:cubicBezTo>
                      <a:pt x="454869" y="974726"/>
                      <a:pt x="269752" y="974726"/>
                      <a:pt x="65485" y="974726"/>
                    </a:cubicBezTo>
                    <a:cubicBezTo>
                      <a:pt x="26789" y="974726"/>
                      <a:pt x="0" y="947937"/>
                      <a:pt x="0" y="924124"/>
                    </a:cubicBezTo>
                    <a:cubicBezTo>
                      <a:pt x="0" y="882452"/>
                      <a:pt x="26789" y="855663"/>
                      <a:pt x="65485" y="855663"/>
                    </a:cubicBezTo>
                    <a:close/>
                    <a:moveTo>
                      <a:pt x="1285875" y="431800"/>
                    </a:moveTo>
                    <a:lnTo>
                      <a:pt x="1374268" y="431800"/>
                    </a:lnTo>
                    <a:cubicBezTo>
                      <a:pt x="1616635" y="431800"/>
                      <a:pt x="1903885" y="431800"/>
                      <a:pt x="2244329" y="431800"/>
                    </a:cubicBezTo>
                    <a:cubicBezTo>
                      <a:pt x="2283024" y="431800"/>
                      <a:pt x="2309813" y="458589"/>
                      <a:pt x="2309813" y="497285"/>
                    </a:cubicBezTo>
                    <a:cubicBezTo>
                      <a:pt x="2309813" y="524074"/>
                      <a:pt x="2283024" y="550863"/>
                      <a:pt x="2244329" y="550863"/>
                    </a:cubicBezTo>
                    <a:cubicBezTo>
                      <a:pt x="2244329" y="550863"/>
                      <a:pt x="2244329" y="550863"/>
                      <a:pt x="1325129" y="550863"/>
                    </a:cubicBezTo>
                    <a:lnTo>
                      <a:pt x="1285875" y="550863"/>
                    </a:lnTo>
                    <a:close/>
                    <a:moveTo>
                      <a:pt x="65485" y="431800"/>
                    </a:moveTo>
                    <a:cubicBezTo>
                      <a:pt x="65485" y="431800"/>
                      <a:pt x="65485" y="431800"/>
                      <a:pt x="984685" y="431800"/>
                    </a:cubicBezTo>
                    <a:lnTo>
                      <a:pt x="990179" y="431800"/>
                    </a:lnTo>
                    <a:lnTo>
                      <a:pt x="939680" y="550863"/>
                    </a:lnTo>
                    <a:lnTo>
                      <a:pt x="935547" y="550863"/>
                    </a:lnTo>
                    <a:cubicBezTo>
                      <a:pt x="693180" y="550863"/>
                      <a:pt x="405930" y="550863"/>
                      <a:pt x="65485" y="550863"/>
                    </a:cubicBezTo>
                    <a:cubicBezTo>
                      <a:pt x="26789" y="550863"/>
                      <a:pt x="0" y="524074"/>
                      <a:pt x="0" y="497285"/>
                    </a:cubicBezTo>
                    <a:cubicBezTo>
                      <a:pt x="0" y="458589"/>
                      <a:pt x="26789" y="431800"/>
                      <a:pt x="65485" y="431800"/>
                    </a:cubicBezTo>
                    <a:close/>
                    <a:moveTo>
                      <a:pt x="1155701" y="376238"/>
                    </a:moveTo>
                    <a:cubicBezTo>
                      <a:pt x="1155701" y="376238"/>
                      <a:pt x="1155701" y="376238"/>
                      <a:pt x="1155701" y="1120074"/>
                    </a:cubicBezTo>
                    <a:cubicBezTo>
                      <a:pt x="1155701" y="1120074"/>
                      <a:pt x="1155701" y="1120074"/>
                      <a:pt x="1665288" y="1120074"/>
                    </a:cubicBezTo>
                    <a:cubicBezTo>
                      <a:pt x="1665288" y="1120074"/>
                      <a:pt x="1665288" y="1120074"/>
                      <a:pt x="1155701" y="2316163"/>
                    </a:cubicBezTo>
                    <a:cubicBezTo>
                      <a:pt x="1155701" y="2316163"/>
                      <a:pt x="1155701" y="2316163"/>
                      <a:pt x="1155701" y="1572327"/>
                    </a:cubicBezTo>
                    <a:cubicBezTo>
                      <a:pt x="1155701" y="1572327"/>
                      <a:pt x="1155701" y="1572327"/>
                      <a:pt x="646113" y="1572327"/>
                    </a:cubicBezTo>
                    <a:cubicBezTo>
                      <a:pt x="1155701" y="376238"/>
                      <a:pt x="1155701" y="376238"/>
                      <a:pt x="1155701" y="376238"/>
                    </a:cubicBezTo>
                    <a:close/>
                    <a:moveTo>
                      <a:pt x="65485" y="0"/>
                    </a:moveTo>
                    <a:cubicBezTo>
                      <a:pt x="2244329" y="0"/>
                      <a:pt x="2244329" y="0"/>
                      <a:pt x="2244329" y="0"/>
                    </a:cubicBezTo>
                    <a:cubicBezTo>
                      <a:pt x="2283024" y="0"/>
                      <a:pt x="2309813" y="38930"/>
                      <a:pt x="2309813" y="65882"/>
                    </a:cubicBezTo>
                    <a:cubicBezTo>
                      <a:pt x="2309813" y="104812"/>
                      <a:pt x="2283024" y="131763"/>
                      <a:pt x="2244329" y="131763"/>
                    </a:cubicBezTo>
                    <a:cubicBezTo>
                      <a:pt x="65485" y="131763"/>
                      <a:pt x="65485" y="131763"/>
                      <a:pt x="65485" y="131763"/>
                    </a:cubicBezTo>
                    <a:cubicBezTo>
                      <a:pt x="26789" y="131763"/>
                      <a:pt x="0" y="104812"/>
                      <a:pt x="0" y="65882"/>
                    </a:cubicBezTo>
                    <a:cubicBezTo>
                      <a:pt x="0" y="38930"/>
                      <a:pt x="26789" y="0"/>
                      <a:pt x="65485" y="0"/>
                    </a:cubicBezTo>
                    <a:close/>
                  </a:path>
                </a:pathLst>
              </a:custGeom>
              <a:solidFill>
                <a:srgbClr val="3EA7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algn="r" defTabSz="914400" rtl="1" eaLnBrk="1" latinLnBrk="0" hangingPunct="1"/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74D5A1B-B080-7049-A6CE-A3A357D2AE25}"/>
              </a:ext>
            </a:extLst>
          </p:cNvPr>
          <p:cNvSpPr/>
          <p:nvPr/>
        </p:nvSpPr>
        <p:spPr>
          <a:xfrm>
            <a:off x="6502013" y="2421774"/>
            <a:ext cx="1463675" cy="2062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err="1">
                <a:solidFill>
                  <a:srgbClr val="3EA798"/>
                </a:solidFill>
                <a:latin typeface="Objectivity Light" pitchFamily="2" charset="77"/>
              </a:rPr>
              <a:t>XGboost</a:t>
            </a:r>
            <a:endParaRPr lang="en-US" sz="1600" b="1" dirty="0">
              <a:solidFill>
                <a:srgbClr val="3EA798"/>
              </a:solidFill>
              <a:latin typeface="Objectivity Light" pitchFamily="2" charset="77"/>
              <a:cs typeface="DIN Next LT Arabic Light" panose="020B0303020203050203" pitchFamily="34" charset="-78"/>
            </a:endParaRPr>
          </a:p>
        </p:txBody>
      </p:sp>
      <p:grpSp>
        <p:nvGrpSpPr>
          <p:cNvPr id="105" name="Graphic 93" descr="Eggs in basket">
            <a:extLst>
              <a:ext uri="{FF2B5EF4-FFF2-40B4-BE49-F238E27FC236}">
                <a16:creationId xmlns:a16="http://schemas.microsoft.com/office/drawing/2014/main" id="{FDB73958-E34D-9C40-B19C-0F55EA140104}"/>
              </a:ext>
            </a:extLst>
          </p:cNvPr>
          <p:cNvGrpSpPr/>
          <p:nvPr/>
        </p:nvGrpSpPr>
        <p:grpSpPr>
          <a:xfrm flipH="1">
            <a:off x="7035854" y="1733340"/>
            <a:ext cx="457061" cy="457061"/>
            <a:chOff x="6392050" y="-295888"/>
            <a:chExt cx="578567" cy="578567"/>
          </a:xfrm>
          <a:solidFill>
            <a:srgbClr val="F2F2F2"/>
          </a:solidFill>
        </p:grpSpPr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793EB41C-F3DC-2243-95F4-70F561E9D186}"/>
                </a:ext>
              </a:extLst>
            </p:cNvPr>
            <p:cNvSpPr/>
            <p:nvPr/>
          </p:nvSpPr>
          <p:spPr>
            <a:xfrm>
              <a:off x="6497517" y="-243636"/>
              <a:ext cx="367631" cy="311341"/>
            </a:xfrm>
            <a:custGeom>
              <a:avLst/>
              <a:gdLst>
                <a:gd name="connsiteX0" fmla="*/ 349551 w 367631"/>
                <a:gd name="connsiteY0" fmla="*/ 275181 h 311341"/>
                <a:gd name="connsiteX1" fmla="*/ 346538 w 367631"/>
                <a:gd name="connsiteY1" fmla="*/ 275181 h 311341"/>
                <a:gd name="connsiteX2" fmla="*/ 346538 w 367631"/>
                <a:gd name="connsiteY2" fmla="*/ 162722 h 311341"/>
                <a:gd name="connsiteX3" fmla="*/ 183816 w 367631"/>
                <a:gd name="connsiteY3" fmla="*/ 0 h 311341"/>
                <a:gd name="connsiteX4" fmla="*/ 21094 w 367631"/>
                <a:gd name="connsiteY4" fmla="*/ 162722 h 311341"/>
                <a:gd name="connsiteX5" fmla="*/ 21094 w 367631"/>
                <a:gd name="connsiteY5" fmla="*/ 275181 h 311341"/>
                <a:gd name="connsiteX6" fmla="*/ 18080 w 367631"/>
                <a:gd name="connsiteY6" fmla="*/ 275181 h 311341"/>
                <a:gd name="connsiteX7" fmla="*/ 0 w 367631"/>
                <a:gd name="connsiteY7" fmla="*/ 293261 h 311341"/>
                <a:gd name="connsiteX8" fmla="*/ 18080 w 367631"/>
                <a:gd name="connsiteY8" fmla="*/ 311341 h 311341"/>
                <a:gd name="connsiteX9" fmla="*/ 349551 w 367631"/>
                <a:gd name="connsiteY9" fmla="*/ 311341 h 311341"/>
                <a:gd name="connsiteX10" fmla="*/ 367631 w 367631"/>
                <a:gd name="connsiteY10" fmla="*/ 293261 h 311341"/>
                <a:gd name="connsiteX11" fmla="*/ 349551 w 367631"/>
                <a:gd name="connsiteY11" fmla="*/ 275181 h 311341"/>
                <a:gd name="connsiteX12" fmla="*/ 171099 w 367631"/>
                <a:gd name="connsiteY12" fmla="*/ 275181 h 311341"/>
                <a:gd name="connsiteX13" fmla="*/ 92752 w 367631"/>
                <a:gd name="connsiteY13" fmla="*/ 275181 h 311341"/>
                <a:gd name="connsiteX14" fmla="*/ 92752 w 367631"/>
                <a:gd name="connsiteY14" fmla="*/ 273072 h 311341"/>
                <a:gd name="connsiteX15" fmla="*/ 132227 w 367631"/>
                <a:gd name="connsiteY15" fmla="*/ 217324 h 311341"/>
                <a:gd name="connsiteX16" fmla="*/ 171581 w 367631"/>
                <a:gd name="connsiteY16" fmla="*/ 270058 h 311341"/>
                <a:gd name="connsiteX17" fmla="*/ 171099 w 367631"/>
                <a:gd name="connsiteY17" fmla="*/ 275181 h 311341"/>
                <a:gd name="connsiteX18" fmla="*/ 186588 w 367631"/>
                <a:gd name="connsiteY18" fmla="*/ 231728 h 311341"/>
                <a:gd name="connsiteX19" fmla="*/ 152235 w 367631"/>
                <a:gd name="connsiteY19" fmla="*/ 197315 h 311341"/>
                <a:gd name="connsiteX20" fmla="*/ 186528 w 367631"/>
                <a:gd name="connsiteY20" fmla="*/ 169110 h 311341"/>
                <a:gd name="connsiteX21" fmla="*/ 223532 w 367631"/>
                <a:gd name="connsiteY21" fmla="*/ 205873 h 311341"/>
                <a:gd name="connsiteX22" fmla="*/ 186588 w 367631"/>
                <a:gd name="connsiteY22" fmla="*/ 231728 h 311341"/>
                <a:gd name="connsiteX23" fmla="*/ 195869 w 367631"/>
                <a:gd name="connsiteY23" fmla="*/ 275181 h 311341"/>
                <a:gd name="connsiteX24" fmla="*/ 195869 w 367631"/>
                <a:gd name="connsiteY24" fmla="*/ 273072 h 311341"/>
                <a:gd name="connsiteX25" fmla="*/ 195869 w 367631"/>
                <a:gd name="connsiteY25" fmla="*/ 271685 h 311341"/>
                <a:gd name="connsiteX26" fmla="*/ 234199 w 367631"/>
                <a:gd name="connsiteY26" fmla="*/ 228775 h 311341"/>
                <a:gd name="connsiteX27" fmla="*/ 273072 w 367631"/>
                <a:gd name="connsiteY27" fmla="*/ 275181 h 311341"/>
                <a:gd name="connsiteX28" fmla="*/ 310377 w 367631"/>
                <a:gd name="connsiteY28" fmla="*/ 275181 h 311341"/>
                <a:gd name="connsiteX29" fmla="*/ 297239 w 367631"/>
                <a:gd name="connsiteY29" fmla="*/ 275181 h 311341"/>
                <a:gd name="connsiteX30" fmla="*/ 248422 w 367631"/>
                <a:gd name="connsiteY30" fmla="*/ 206898 h 311341"/>
                <a:gd name="connsiteX31" fmla="*/ 186528 w 367631"/>
                <a:gd name="connsiteY31" fmla="*/ 145003 h 311341"/>
                <a:gd name="connsiteX32" fmla="*/ 128008 w 367631"/>
                <a:gd name="connsiteY32" fmla="*/ 193519 h 311341"/>
                <a:gd name="connsiteX33" fmla="*/ 68705 w 367631"/>
                <a:gd name="connsiteY33" fmla="*/ 273192 h 311341"/>
                <a:gd name="connsiteX34" fmla="*/ 68705 w 367631"/>
                <a:gd name="connsiteY34" fmla="*/ 275301 h 311341"/>
                <a:gd name="connsiteX35" fmla="*/ 57254 w 367631"/>
                <a:gd name="connsiteY35" fmla="*/ 275301 h 311341"/>
                <a:gd name="connsiteX36" fmla="*/ 57254 w 367631"/>
                <a:gd name="connsiteY36" fmla="*/ 162722 h 311341"/>
                <a:gd name="connsiteX37" fmla="*/ 183816 w 367631"/>
                <a:gd name="connsiteY37" fmla="*/ 36160 h 311341"/>
                <a:gd name="connsiteX38" fmla="*/ 310377 w 367631"/>
                <a:gd name="connsiteY38" fmla="*/ 162722 h 31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7631" h="311341">
                  <a:moveTo>
                    <a:pt x="349551" y="275181"/>
                  </a:moveTo>
                  <a:lnTo>
                    <a:pt x="346538" y="275181"/>
                  </a:lnTo>
                  <a:lnTo>
                    <a:pt x="346538" y="162722"/>
                  </a:lnTo>
                  <a:cubicBezTo>
                    <a:pt x="346538" y="72853"/>
                    <a:pt x="273685" y="0"/>
                    <a:pt x="183816" y="0"/>
                  </a:cubicBezTo>
                  <a:cubicBezTo>
                    <a:pt x="93947" y="0"/>
                    <a:pt x="21094" y="72853"/>
                    <a:pt x="21094" y="162722"/>
                  </a:cubicBezTo>
                  <a:lnTo>
                    <a:pt x="21094" y="275181"/>
                  </a:lnTo>
                  <a:lnTo>
                    <a:pt x="18080" y="275181"/>
                  </a:lnTo>
                  <a:cubicBezTo>
                    <a:pt x="8095" y="275181"/>
                    <a:pt x="0" y="283275"/>
                    <a:pt x="0" y="293261"/>
                  </a:cubicBezTo>
                  <a:cubicBezTo>
                    <a:pt x="0" y="303247"/>
                    <a:pt x="8095" y="311341"/>
                    <a:pt x="18080" y="311341"/>
                  </a:cubicBezTo>
                  <a:lnTo>
                    <a:pt x="349551" y="311341"/>
                  </a:lnTo>
                  <a:cubicBezTo>
                    <a:pt x="359537" y="311341"/>
                    <a:pt x="367631" y="303247"/>
                    <a:pt x="367631" y="293261"/>
                  </a:cubicBezTo>
                  <a:cubicBezTo>
                    <a:pt x="367631" y="283275"/>
                    <a:pt x="359537" y="275181"/>
                    <a:pt x="349551" y="275181"/>
                  </a:cubicBezTo>
                  <a:close/>
                  <a:moveTo>
                    <a:pt x="171099" y="275181"/>
                  </a:moveTo>
                  <a:lnTo>
                    <a:pt x="92752" y="275181"/>
                  </a:lnTo>
                  <a:cubicBezTo>
                    <a:pt x="92752" y="274458"/>
                    <a:pt x="92752" y="273795"/>
                    <a:pt x="92752" y="273072"/>
                  </a:cubicBezTo>
                  <a:cubicBezTo>
                    <a:pt x="92752" y="242938"/>
                    <a:pt x="110832" y="217324"/>
                    <a:pt x="132227" y="217324"/>
                  </a:cubicBezTo>
                  <a:cubicBezTo>
                    <a:pt x="153622" y="217324"/>
                    <a:pt x="170436" y="241431"/>
                    <a:pt x="171581" y="270058"/>
                  </a:cubicBezTo>
                  <a:cubicBezTo>
                    <a:pt x="171400" y="271746"/>
                    <a:pt x="171220" y="273192"/>
                    <a:pt x="171099" y="275181"/>
                  </a:cubicBezTo>
                  <a:close/>
                  <a:moveTo>
                    <a:pt x="186588" y="231728"/>
                  </a:moveTo>
                  <a:cubicBezTo>
                    <a:pt x="179701" y="216463"/>
                    <a:pt x="167489" y="204229"/>
                    <a:pt x="152235" y="197315"/>
                  </a:cubicBezTo>
                  <a:cubicBezTo>
                    <a:pt x="159226" y="180200"/>
                    <a:pt x="172184" y="169110"/>
                    <a:pt x="186528" y="169110"/>
                  </a:cubicBezTo>
                  <a:cubicBezTo>
                    <a:pt x="203161" y="169110"/>
                    <a:pt x="217927" y="184478"/>
                    <a:pt x="223532" y="205873"/>
                  </a:cubicBezTo>
                  <a:cubicBezTo>
                    <a:pt x="208387" y="209501"/>
                    <a:pt x="195183" y="218741"/>
                    <a:pt x="186588" y="231728"/>
                  </a:cubicBezTo>
                  <a:close/>
                  <a:moveTo>
                    <a:pt x="195869" y="275181"/>
                  </a:moveTo>
                  <a:cubicBezTo>
                    <a:pt x="195869" y="274458"/>
                    <a:pt x="195869" y="273795"/>
                    <a:pt x="195869" y="273072"/>
                  </a:cubicBezTo>
                  <a:cubicBezTo>
                    <a:pt x="195869" y="272348"/>
                    <a:pt x="195869" y="272168"/>
                    <a:pt x="195869" y="271685"/>
                  </a:cubicBezTo>
                  <a:cubicBezTo>
                    <a:pt x="200088" y="247578"/>
                    <a:pt x="215938" y="228775"/>
                    <a:pt x="234199" y="228775"/>
                  </a:cubicBezTo>
                  <a:cubicBezTo>
                    <a:pt x="252460" y="228775"/>
                    <a:pt x="269757" y="249206"/>
                    <a:pt x="273072" y="275181"/>
                  </a:cubicBezTo>
                  <a:close/>
                  <a:moveTo>
                    <a:pt x="310377" y="275181"/>
                  </a:moveTo>
                  <a:lnTo>
                    <a:pt x="297239" y="275181"/>
                  </a:lnTo>
                  <a:cubicBezTo>
                    <a:pt x="294105" y="241552"/>
                    <a:pt x="274217" y="214251"/>
                    <a:pt x="248422" y="206898"/>
                  </a:cubicBezTo>
                  <a:cubicBezTo>
                    <a:pt x="241913" y="170738"/>
                    <a:pt x="216661" y="145003"/>
                    <a:pt x="186528" y="145003"/>
                  </a:cubicBezTo>
                  <a:cubicBezTo>
                    <a:pt x="160613" y="145003"/>
                    <a:pt x="137832" y="164409"/>
                    <a:pt x="128008" y="193519"/>
                  </a:cubicBezTo>
                  <a:cubicBezTo>
                    <a:pt x="94981" y="196291"/>
                    <a:pt x="68705" y="231005"/>
                    <a:pt x="68705" y="273192"/>
                  </a:cubicBezTo>
                  <a:cubicBezTo>
                    <a:pt x="68705" y="273915"/>
                    <a:pt x="68705" y="274578"/>
                    <a:pt x="68705" y="275301"/>
                  </a:cubicBezTo>
                  <a:lnTo>
                    <a:pt x="57254" y="275301"/>
                  </a:lnTo>
                  <a:lnTo>
                    <a:pt x="57254" y="162722"/>
                  </a:lnTo>
                  <a:cubicBezTo>
                    <a:pt x="57254" y="92824"/>
                    <a:pt x="113917" y="36160"/>
                    <a:pt x="183816" y="36160"/>
                  </a:cubicBezTo>
                  <a:cubicBezTo>
                    <a:pt x="253714" y="36160"/>
                    <a:pt x="310377" y="92824"/>
                    <a:pt x="310377" y="162722"/>
                  </a:cubicBezTo>
                  <a:close/>
                </a:path>
              </a:pathLst>
            </a:custGeom>
            <a:solidFill>
              <a:schemeClr val="tx2"/>
            </a:solidFill>
            <a:ln w="59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algn="r" defTabSz="914400" rtl="1" eaLnBrk="1" latinLnBrk="0" hangingPunct="1"/>
              <a:endParaRPr lang="en-SA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B690E20C-9AC1-7741-BB7B-DF1407C32C9A}"/>
                </a:ext>
              </a:extLst>
            </p:cNvPr>
            <p:cNvSpPr/>
            <p:nvPr/>
          </p:nvSpPr>
          <p:spPr>
            <a:xfrm>
              <a:off x="6506558" y="85785"/>
              <a:ext cx="349550" cy="144641"/>
            </a:xfrm>
            <a:custGeom>
              <a:avLst/>
              <a:gdLst>
                <a:gd name="connsiteX0" fmla="*/ 337497 w 349550"/>
                <a:gd name="connsiteY0" fmla="*/ 0 h 144641"/>
                <a:gd name="connsiteX1" fmla="*/ 349551 w 349550"/>
                <a:gd name="connsiteY1" fmla="*/ 12053 h 144641"/>
                <a:gd name="connsiteX2" fmla="*/ 174775 w 349550"/>
                <a:gd name="connsiteY2" fmla="*/ 144642 h 144641"/>
                <a:gd name="connsiteX3" fmla="*/ 0 w 349550"/>
                <a:gd name="connsiteY3" fmla="*/ 12053 h 144641"/>
                <a:gd name="connsiteX4" fmla="*/ 12053 w 349550"/>
                <a:gd name="connsiteY4" fmla="*/ 0 h 14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550" h="144641">
                  <a:moveTo>
                    <a:pt x="337497" y="0"/>
                  </a:moveTo>
                  <a:cubicBezTo>
                    <a:pt x="344155" y="0"/>
                    <a:pt x="349551" y="5396"/>
                    <a:pt x="349551" y="12053"/>
                  </a:cubicBezTo>
                  <a:cubicBezTo>
                    <a:pt x="349551" y="12053"/>
                    <a:pt x="349551" y="144642"/>
                    <a:pt x="174775" y="144642"/>
                  </a:cubicBezTo>
                  <a:cubicBezTo>
                    <a:pt x="0" y="144642"/>
                    <a:pt x="0" y="12053"/>
                    <a:pt x="0" y="12053"/>
                  </a:cubicBezTo>
                  <a:cubicBezTo>
                    <a:pt x="0" y="5396"/>
                    <a:pt x="5396" y="0"/>
                    <a:pt x="12053" y="0"/>
                  </a:cubicBezTo>
                  <a:close/>
                </a:path>
              </a:pathLst>
            </a:custGeom>
            <a:solidFill>
              <a:srgbClr val="3EA798"/>
            </a:solidFill>
            <a:ln w="59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algn="r" defTabSz="914400" rtl="1" eaLnBrk="1" latinLnBrk="0" hangingPunct="1"/>
              <a:endParaRPr lang="en-SA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83D7800F-7B84-6C42-A20E-98BFF290E272}"/>
              </a:ext>
            </a:extLst>
          </p:cNvPr>
          <p:cNvGrpSpPr/>
          <p:nvPr/>
        </p:nvGrpSpPr>
        <p:grpSpPr>
          <a:xfrm flipH="1">
            <a:off x="9551944" y="1667793"/>
            <a:ext cx="2570607" cy="4384744"/>
            <a:chOff x="98119" y="1111209"/>
            <a:chExt cx="2570607" cy="4384744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0CC3AE2C-2DF9-0849-B729-1DC5A4CCC8D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79176" y="1264939"/>
              <a:ext cx="911059" cy="918672"/>
              <a:chOff x="6464300" y="2606675"/>
              <a:chExt cx="1646238" cy="1644650"/>
            </a:xfrm>
          </p:grpSpPr>
          <p:sp>
            <p:nvSpPr>
              <p:cNvPr id="119" name="AutoShape 14">
                <a:extLst>
                  <a:ext uri="{FF2B5EF4-FFF2-40B4-BE49-F238E27FC236}">
                    <a16:creationId xmlns:a16="http://schemas.microsoft.com/office/drawing/2014/main" id="{C99E35D8-1657-244D-B547-EC2B40CBF22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0D3F237E-E7CD-6A41-97E3-8F52485A4C06}"/>
                  </a:ext>
                </a:extLst>
              </p:cNvPr>
              <p:cNvGrpSpPr/>
              <p:nvPr/>
            </p:nvGrpSpPr>
            <p:grpSpPr>
              <a:xfrm>
                <a:off x="6808738" y="2849420"/>
                <a:ext cx="1162223" cy="1160746"/>
                <a:chOff x="6808738" y="2849420"/>
                <a:chExt cx="1162223" cy="1160746"/>
              </a:xfrm>
            </p:grpSpPr>
            <p:sp>
              <p:nvSpPr>
                <p:cNvPr id="121" name="Freeform 120">
                  <a:extLst>
                    <a:ext uri="{FF2B5EF4-FFF2-40B4-BE49-F238E27FC236}">
                      <a16:creationId xmlns:a16="http://schemas.microsoft.com/office/drawing/2014/main" id="{A80E006C-F728-1443-8032-EE7F16AF9B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08738" y="2849420"/>
                  <a:ext cx="1162223" cy="1160746"/>
                </a:xfrm>
                <a:custGeom>
                  <a:avLst/>
                  <a:gdLst>
                    <a:gd name="connsiteX0" fmla="*/ 888325 w 1162223"/>
                    <a:gd name="connsiteY0" fmla="*/ 827229 h 1160746"/>
                    <a:gd name="connsiteX1" fmla="*/ 879747 w 1162223"/>
                    <a:gd name="connsiteY1" fmla="*/ 830791 h 1160746"/>
                    <a:gd name="connsiteX2" fmla="*/ 845435 w 1162223"/>
                    <a:gd name="connsiteY2" fmla="*/ 864980 h 1160746"/>
                    <a:gd name="connsiteX3" fmla="*/ 841146 w 1162223"/>
                    <a:gd name="connsiteY3" fmla="*/ 871391 h 1160746"/>
                    <a:gd name="connsiteX4" fmla="*/ 839001 w 1162223"/>
                    <a:gd name="connsiteY4" fmla="*/ 878513 h 1160746"/>
                    <a:gd name="connsiteX5" fmla="*/ 838286 w 1162223"/>
                    <a:gd name="connsiteY5" fmla="*/ 883499 h 1160746"/>
                    <a:gd name="connsiteX6" fmla="*/ 839716 w 1162223"/>
                    <a:gd name="connsiteY6" fmla="*/ 896320 h 1160746"/>
                    <a:gd name="connsiteX7" fmla="*/ 844720 w 1162223"/>
                    <a:gd name="connsiteY7" fmla="*/ 915552 h 1160746"/>
                    <a:gd name="connsiteX8" fmla="*/ 855442 w 1162223"/>
                    <a:gd name="connsiteY8" fmla="*/ 940482 h 1160746"/>
                    <a:gd name="connsiteX9" fmla="*/ 874028 w 1162223"/>
                    <a:gd name="connsiteY9" fmla="*/ 970398 h 1160746"/>
                    <a:gd name="connsiteX10" fmla="*/ 904051 w 1162223"/>
                    <a:gd name="connsiteY10" fmla="*/ 1004587 h 1160746"/>
                    <a:gd name="connsiteX11" fmla="*/ 946942 w 1162223"/>
                    <a:gd name="connsiteY11" fmla="*/ 1040201 h 1160746"/>
                    <a:gd name="connsiteX12" fmla="*/ 983399 w 1162223"/>
                    <a:gd name="connsiteY12" fmla="*/ 1060145 h 1160746"/>
                    <a:gd name="connsiteX13" fmla="*/ 1009848 w 1162223"/>
                    <a:gd name="connsiteY13" fmla="*/ 1068693 h 1160746"/>
                    <a:gd name="connsiteX14" fmla="*/ 1025574 w 1162223"/>
                    <a:gd name="connsiteY14" fmla="*/ 1070117 h 1160746"/>
                    <a:gd name="connsiteX15" fmla="*/ 1029148 w 1162223"/>
                    <a:gd name="connsiteY15" fmla="*/ 1070117 h 1160746"/>
                    <a:gd name="connsiteX16" fmla="*/ 1030578 w 1162223"/>
                    <a:gd name="connsiteY16" fmla="*/ 1070117 h 1160746"/>
                    <a:gd name="connsiteX17" fmla="*/ 1037726 w 1162223"/>
                    <a:gd name="connsiteY17" fmla="*/ 1067268 h 1160746"/>
                    <a:gd name="connsiteX18" fmla="*/ 1044160 w 1162223"/>
                    <a:gd name="connsiteY18" fmla="*/ 1062994 h 1160746"/>
                    <a:gd name="connsiteX19" fmla="*/ 1078472 w 1162223"/>
                    <a:gd name="connsiteY19" fmla="*/ 1029517 h 1160746"/>
                    <a:gd name="connsiteX20" fmla="*/ 1082046 w 1162223"/>
                    <a:gd name="connsiteY20" fmla="*/ 1018833 h 1160746"/>
                    <a:gd name="connsiteX21" fmla="*/ 1075613 w 1162223"/>
                    <a:gd name="connsiteY21" fmla="*/ 1010285 h 1160746"/>
                    <a:gd name="connsiteX22" fmla="*/ 1025574 w 1162223"/>
                    <a:gd name="connsiteY22" fmla="*/ 981082 h 1160746"/>
                    <a:gd name="connsiteX23" fmla="*/ 1018426 w 1162223"/>
                    <a:gd name="connsiteY23" fmla="*/ 979657 h 1160746"/>
                    <a:gd name="connsiteX24" fmla="*/ 1007703 w 1162223"/>
                    <a:gd name="connsiteY24" fmla="*/ 983931 h 1160746"/>
                    <a:gd name="connsiteX25" fmla="*/ 992692 w 1162223"/>
                    <a:gd name="connsiteY25" fmla="*/ 998889 h 1160746"/>
                    <a:gd name="connsiteX26" fmla="*/ 991262 w 1162223"/>
                    <a:gd name="connsiteY26" fmla="*/ 999601 h 1160746"/>
                    <a:gd name="connsiteX27" fmla="*/ 989832 w 1162223"/>
                    <a:gd name="connsiteY27" fmla="*/ 999601 h 1160746"/>
                    <a:gd name="connsiteX28" fmla="*/ 986258 w 1162223"/>
                    <a:gd name="connsiteY28" fmla="*/ 999601 h 1160746"/>
                    <a:gd name="connsiteX29" fmla="*/ 976965 w 1162223"/>
                    <a:gd name="connsiteY29" fmla="*/ 995328 h 1160746"/>
                    <a:gd name="connsiteX30" fmla="*/ 961953 w 1162223"/>
                    <a:gd name="connsiteY30" fmla="*/ 986068 h 1160746"/>
                    <a:gd name="connsiteX31" fmla="*/ 941223 w 1162223"/>
                    <a:gd name="connsiteY31" fmla="*/ 967549 h 1160746"/>
                    <a:gd name="connsiteX32" fmla="*/ 923352 w 1162223"/>
                    <a:gd name="connsiteY32" fmla="*/ 946892 h 1160746"/>
                    <a:gd name="connsiteX33" fmla="*/ 913344 w 1162223"/>
                    <a:gd name="connsiteY33" fmla="*/ 931935 h 1160746"/>
                    <a:gd name="connsiteX34" fmla="*/ 909055 w 1162223"/>
                    <a:gd name="connsiteY34" fmla="*/ 919826 h 1160746"/>
                    <a:gd name="connsiteX35" fmla="*/ 909055 w 1162223"/>
                    <a:gd name="connsiteY35" fmla="*/ 917689 h 1160746"/>
                    <a:gd name="connsiteX36" fmla="*/ 910485 w 1162223"/>
                    <a:gd name="connsiteY36" fmla="*/ 916264 h 1160746"/>
                    <a:gd name="connsiteX37" fmla="*/ 922637 w 1162223"/>
                    <a:gd name="connsiteY37" fmla="*/ 903443 h 1160746"/>
                    <a:gd name="connsiteX38" fmla="*/ 926926 w 1162223"/>
                    <a:gd name="connsiteY38" fmla="*/ 895608 h 1160746"/>
                    <a:gd name="connsiteX39" fmla="*/ 926211 w 1162223"/>
                    <a:gd name="connsiteY39" fmla="*/ 886348 h 1160746"/>
                    <a:gd name="connsiteX40" fmla="*/ 898333 w 1162223"/>
                    <a:gd name="connsiteY40" fmla="*/ 834352 h 1160746"/>
                    <a:gd name="connsiteX41" fmla="*/ 894044 w 1162223"/>
                    <a:gd name="connsiteY41" fmla="*/ 829366 h 1160746"/>
                    <a:gd name="connsiteX42" fmla="*/ 888325 w 1162223"/>
                    <a:gd name="connsiteY42" fmla="*/ 827229 h 1160746"/>
                    <a:gd name="connsiteX43" fmla="*/ 683850 w 1162223"/>
                    <a:gd name="connsiteY43" fmla="*/ 565292 h 1160746"/>
                    <a:gd name="connsiteX44" fmla="*/ 699576 w 1162223"/>
                    <a:gd name="connsiteY44" fmla="*/ 580976 h 1160746"/>
                    <a:gd name="connsiteX45" fmla="*/ 675273 w 1162223"/>
                    <a:gd name="connsiteY45" fmla="*/ 652979 h 1160746"/>
                    <a:gd name="connsiteX46" fmla="*/ 813228 w 1162223"/>
                    <a:gd name="connsiteY46" fmla="*/ 790570 h 1160746"/>
                    <a:gd name="connsiteX47" fmla="*/ 1100573 w 1162223"/>
                    <a:gd name="connsiteY47" fmla="*/ 801264 h 1160746"/>
                    <a:gd name="connsiteX48" fmla="*/ 1100573 w 1162223"/>
                    <a:gd name="connsiteY48" fmla="*/ 1099258 h 1160746"/>
                    <a:gd name="connsiteX49" fmla="*/ 801791 w 1162223"/>
                    <a:gd name="connsiteY49" fmla="*/ 1099258 h 1160746"/>
                    <a:gd name="connsiteX50" fmla="*/ 791069 w 1162223"/>
                    <a:gd name="connsiteY50" fmla="*/ 812670 h 1160746"/>
                    <a:gd name="connsiteX51" fmla="*/ 642393 w 1162223"/>
                    <a:gd name="connsiteY51" fmla="*/ 664386 h 1160746"/>
                    <a:gd name="connsiteX52" fmla="*/ 642393 w 1162223"/>
                    <a:gd name="connsiteY52" fmla="*/ 642286 h 1160746"/>
                    <a:gd name="connsiteX53" fmla="*/ 668125 w 1162223"/>
                    <a:gd name="connsiteY53" fmla="*/ 580976 h 1160746"/>
                    <a:gd name="connsiteX54" fmla="*/ 683850 w 1162223"/>
                    <a:gd name="connsiteY54" fmla="*/ 565292 h 1160746"/>
                    <a:gd name="connsiteX55" fmla="*/ 95011 w 1162223"/>
                    <a:gd name="connsiteY55" fmla="*/ 135079 h 1160746"/>
                    <a:gd name="connsiteX56" fmla="*/ 326562 w 1162223"/>
                    <a:gd name="connsiteY56" fmla="*/ 135079 h 1160746"/>
                    <a:gd name="connsiteX57" fmla="*/ 328699 w 1162223"/>
                    <a:gd name="connsiteY57" fmla="*/ 137966 h 1160746"/>
                    <a:gd name="connsiteX58" fmla="*/ 328699 w 1162223"/>
                    <a:gd name="connsiteY58" fmla="*/ 251977 h 1160746"/>
                    <a:gd name="connsiteX59" fmla="*/ 326562 w 1162223"/>
                    <a:gd name="connsiteY59" fmla="*/ 254142 h 1160746"/>
                    <a:gd name="connsiteX60" fmla="*/ 225392 w 1162223"/>
                    <a:gd name="connsiteY60" fmla="*/ 254142 h 1160746"/>
                    <a:gd name="connsiteX61" fmla="*/ 195469 w 1162223"/>
                    <a:gd name="connsiteY61" fmla="*/ 254142 h 1160746"/>
                    <a:gd name="connsiteX62" fmla="*/ 95011 w 1162223"/>
                    <a:gd name="connsiteY62" fmla="*/ 254142 h 1160746"/>
                    <a:gd name="connsiteX63" fmla="*/ 92161 w 1162223"/>
                    <a:gd name="connsiteY63" fmla="*/ 251977 h 1160746"/>
                    <a:gd name="connsiteX64" fmla="*/ 92161 w 1162223"/>
                    <a:gd name="connsiteY64" fmla="*/ 137966 h 1160746"/>
                    <a:gd name="connsiteX65" fmla="*/ 95011 w 1162223"/>
                    <a:gd name="connsiteY65" fmla="*/ 135079 h 1160746"/>
                    <a:gd name="connsiteX66" fmla="*/ 74941 w 1162223"/>
                    <a:gd name="connsiteY66" fmla="*/ 114442 h 1160746"/>
                    <a:gd name="connsiteX67" fmla="*/ 69936 w 1162223"/>
                    <a:gd name="connsiteY67" fmla="*/ 119418 h 1160746"/>
                    <a:gd name="connsiteX68" fmla="*/ 69936 w 1162223"/>
                    <a:gd name="connsiteY68" fmla="*/ 269401 h 1160746"/>
                    <a:gd name="connsiteX69" fmla="*/ 74941 w 1162223"/>
                    <a:gd name="connsiteY69" fmla="*/ 275088 h 1160746"/>
                    <a:gd name="connsiteX70" fmla="*/ 186478 w 1162223"/>
                    <a:gd name="connsiteY70" fmla="*/ 275088 h 1160746"/>
                    <a:gd name="connsiteX71" fmla="*/ 186478 w 1162223"/>
                    <a:gd name="connsiteY71" fmla="*/ 278642 h 1160746"/>
                    <a:gd name="connsiteX72" fmla="*/ 167174 w 1162223"/>
                    <a:gd name="connsiteY72" fmla="*/ 295701 h 1160746"/>
                    <a:gd name="connsiteX73" fmla="*/ 165744 w 1162223"/>
                    <a:gd name="connsiteY73" fmla="*/ 301388 h 1160746"/>
                    <a:gd name="connsiteX74" fmla="*/ 170749 w 1162223"/>
                    <a:gd name="connsiteY74" fmla="*/ 304942 h 1160746"/>
                    <a:gd name="connsiteX75" fmla="*/ 250112 w 1162223"/>
                    <a:gd name="connsiteY75" fmla="*/ 304942 h 1160746"/>
                    <a:gd name="connsiteX76" fmla="*/ 255117 w 1162223"/>
                    <a:gd name="connsiteY76" fmla="*/ 301388 h 1160746"/>
                    <a:gd name="connsiteX77" fmla="*/ 253687 w 1162223"/>
                    <a:gd name="connsiteY77" fmla="*/ 295701 h 1160746"/>
                    <a:gd name="connsiteX78" fmla="*/ 233667 w 1162223"/>
                    <a:gd name="connsiteY78" fmla="*/ 278642 h 1160746"/>
                    <a:gd name="connsiteX79" fmla="*/ 233667 w 1162223"/>
                    <a:gd name="connsiteY79" fmla="*/ 275088 h 1160746"/>
                    <a:gd name="connsiteX80" fmla="*/ 345204 w 1162223"/>
                    <a:gd name="connsiteY80" fmla="*/ 275088 h 1160746"/>
                    <a:gd name="connsiteX81" fmla="*/ 350924 w 1162223"/>
                    <a:gd name="connsiteY81" fmla="*/ 269401 h 1160746"/>
                    <a:gd name="connsiteX82" fmla="*/ 350924 w 1162223"/>
                    <a:gd name="connsiteY82" fmla="*/ 119418 h 1160746"/>
                    <a:gd name="connsiteX83" fmla="*/ 345204 w 1162223"/>
                    <a:gd name="connsiteY83" fmla="*/ 114442 h 1160746"/>
                    <a:gd name="connsiteX84" fmla="*/ 74941 w 1162223"/>
                    <a:gd name="connsiteY84" fmla="*/ 114442 h 1160746"/>
                    <a:gd name="connsiteX85" fmla="*/ 211309 w 1162223"/>
                    <a:gd name="connsiteY85" fmla="*/ 0 h 1160746"/>
                    <a:gd name="connsiteX86" fmla="*/ 360433 w 1162223"/>
                    <a:gd name="connsiteY86" fmla="*/ 61488 h 1160746"/>
                    <a:gd name="connsiteX87" fmla="*/ 371154 w 1162223"/>
                    <a:gd name="connsiteY87" fmla="*/ 348076 h 1160746"/>
                    <a:gd name="connsiteX88" fmla="*/ 519831 w 1162223"/>
                    <a:gd name="connsiteY88" fmla="*/ 496360 h 1160746"/>
                    <a:gd name="connsiteX89" fmla="*/ 519831 w 1162223"/>
                    <a:gd name="connsiteY89" fmla="*/ 518460 h 1160746"/>
                    <a:gd name="connsiteX90" fmla="*/ 494098 w 1162223"/>
                    <a:gd name="connsiteY90" fmla="*/ 579770 h 1160746"/>
                    <a:gd name="connsiteX91" fmla="*/ 478373 w 1162223"/>
                    <a:gd name="connsiteY91" fmla="*/ 595454 h 1160746"/>
                    <a:gd name="connsiteX92" fmla="*/ 462648 w 1162223"/>
                    <a:gd name="connsiteY92" fmla="*/ 579770 h 1160746"/>
                    <a:gd name="connsiteX93" fmla="*/ 486951 w 1162223"/>
                    <a:gd name="connsiteY93" fmla="*/ 507767 h 1160746"/>
                    <a:gd name="connsiteX94" fmla="*/ 348996 w 1162223"/>
                    <a:gd name="connsiteY94" fmla="*/ 370176 h 1160746"/>
                    <a:gd name="connsiteX95" fmla="*/ 61650 w 1162223"/>
                    <a:gd name="connsiteY95" fmla="*/ 359483 h 1160746"/>
                    <a:gd name="connsiteX96" fmla="*/ 61650 w 1162223"/>
                    <a:gd name="connsiteY96" fmla="*/ 61488 h 1160746"/>
                    <a:gd name="connsiteX97" fmla="*/ 211309 w 1162223"/>
                    <a:gd name="connsiteY97" fmla="*/ 0 h 1160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</a:cxnLst>
                  <a:rect l="l" t="t" r="r" b="b"/>
                  <a:pathLst>
                    <a:path w="1162223" h="1160746">
                      <a:moveTo>
                        <a:pt x="888325" y="827229"/>
                      </a:moveTo>
                      <a:cubicBezTo>
                        <a:pt x="884751" y="827229"/>
                        <a:pt x="881891" y="828654"/>
                        <a:pt x="879747" y="830791"/>
                      </a:cubicBezTo>
                      <a:cubicBezTo>
                        <a:pt x="879747" y="830791"/>
                        <a:pt x="879747" y="830791"/>
                        <a:pt x="845435" y="864980"/>
                      </a:cubicBezTo>
                      <a:cubicBezTo>
                        <a:pt x="844005" y="866405"/>
                        <a:pt x="842575" y="868541"/>
                        <a:pt x="841146" y="871391"/>
                      </a:cubicBezTo>
                      <a:cubicBezTo>
                        <a:pt x="839716" y="873527"/>
                        <a:pt x="839001" y="876377"/>
                        <a:pt x="839001" y="878513"/>
                      </a:cubicBezTo>
                      <a:cubicBezTo>
                        <a:pt x="839001" y="879226"/>
                        <a:pt x="839001" y="880650"/>
                        <a:pt x="838286" y="883499"/>
                      </a:cubicBezTo>
                      <a:cubicBezTo>
                        <a:pt x="838286" y="887061"/>
                        <a:pt x="839001" y="891334"/>
                        <a:pt x="839716" y="896320"/>
                      </a:cubicBezTo>
                      <a:cubicBezTo>
                        <a:pt x="840431" y="902019"/>
                        <a:pt x="841860" y="908429"/>
                        <a:pt x="844720" y="915552"/>
                      </a:cubicBezTo>
                      <a:cubicBezTo>
                        <a:pt x="846864" y="923387"/>
                        <a:pt x="850439" y="931222"/>
                        <a:pt x="855442" y="940482"/>
                      </a:cubicBezTo>
                      <a:cubicBezTo>
                        <a:pt x="859731" y="949742"/>
                        <a:pt x="866165" y="959713"/>
                        <a:pt x="874028" y="970398"/>
                      </a:cubicBezTo>
                      <a:cubicBezTo>
                        <a:pt x="882606" y="981082"/>
                        <a:pt x="891899" y="992478"/>
                        <a:pt x="904051" y="1004587"/>
                      </a:cubicBezTo>
                      <a:cubicBezTo>
                        <a:pt x="919063" y="1019545"/>
                        <a:pt x="933360" y="1031654"/>
                        <a:pt x="946942" y="1040201"/>
                      </a:cubicBezTo>
                      <a:cubicBezTo>
                        <a:pt x="960524" y="1049461"/>
                        <a:pt x="972676" y="1055872"/>
                        <a:pt x="983399" y="1060145"/>
                      </a:cubicBezTo>
                      <a:cubicBezTo>
                        <a:pt x="993406" y="1064419"/>
                        <a:pt x="1002699" y="1067268"/>
                        <a:pt x="1009848" y="1068693"/>
                      </a:cubicBezTo>
                      <a:cubicBezTo>
                        <a:pt x="1016996" y="1069405"/>
                        <a:pt x="1022715" y="1070117"/>
                        <a:pt x="1025574" y="1070117"/>
                      </a:cubicBezTo>
                      <a:cubicBezTo>
                        <a:pt x="1027004" y="1070117"/>
                        <a:pt x="1028433" y="1070117"/>
                        <a:pt x="1029148" y="1070117"/>
                      </a:cubicBezTo>
                      <a:cubicBezTo>
                        <a:pt x="1029863" y="1070117"/>
                        <a:pt x="1030578" y="1070117"/>
                        <a:pt x="1030578" y="1070117"/>
                      </a:cubicBezTo>
                      <a:cubicBezTo>
                        <a:pt x="1033437" y="1069405"/>
                        <a:pt x="1035582" y="1068693"/>
                        <a:pt x="1037726" y="1067268"/>
                      </a:cubicBezTo>
                      <a:cubicBezTo>
                        <a:pt x="1040586" y="1066556"/>
                        <a:pt x="1042730" y="1065131"/>
                        <a:pt x="1044160" y="1062994"/>
                      </a:cubicBezTo>
                      <a:cubicBezTo>
                        <a:pt x="1044160" y="1062994"/>
                        <a:pt x="1044160" y="1062994"/>
                        <a:pt x="1078472" y="1029517"/>
                      </a:cubicBezTo>
                      <a:cubicBezTo>
                        <a:pt x="1081332" y="1026668"/>
                        <a:pt x="1082761" y="1023107"/>
                        <a:pt x="1082046" y="1018833"/>
                      </a:cubicBezTo>
                      <a:cubicBezTo>
                        <a:pt x="1081332" y="1015271"/>
                        <a:pt x="1079187" y="1012422"/>
                        <a:pt x="1075613" y="1010285"/>
                      </a:cubicBezTo>
                      <a:cubicBezTo>
                        <a:pt x="1075613" y="1010285"/>
                        <a:pt x="1075613" y="1010285"/>
                        <a:pt x="1025574" y="981082"/>
                      </a:cubicBezTo>
                      <a:cubicBezTo>
                        <a:pt x="1024144" y="980370"/>
                        <a:pt x="1021285" y="979657"/>
                        <a:pt x="1018426" y="979657"/>
                      </a:cubicBezTo>
                      <a:cubicBezTo>
                        <a:pt x="1014137" y="979657"/>
                        <a:pt x="1010562" y="981082"/>
                        <a:pt x="1007703" y="983931"/>
                      </a:cubicBezTo>
                      <a:cubicBezTo>
                        <a:pt x="1007703" y="983931"/>
                        <a:pt x="1007703" y="983931"/>
                        <a:pt x="992692" y="998889"/>
                      </a:cubicBezTo>
                      <a:cubicBezTo>
                        <a:pt x="992692" y="998889"/>
                        <a:pt x="991977" y="999601"/>
                        <a:pt x="991262" y="999601"/>
                      </a:cubicBezTo>
                      <a:cubicBezTo>
                        <a:pt x="990547" y="999601"/>
                        <a:pt x="989832" y="999601"/>
                        <a:pt x="989832" y="999601"/>
                      </a:cubicBezTo>
                      <a:cubicBezTo>
                        <a:pt x="989832" y="999601"/>
                        <a:pt x="989832" y="999601"/>
                        <a:pt x="986258" y="999601"/>
                      </a:cubicBezTo>
                      <a:cubicBezTo>
                        <a:pt x="984113" y="998889"/>
                        <a:pt x="981254" y="997464"/>
                        <a:pt x="976965" y="995328"/>
                      </a:cubicBezTo>
                      <a:cubicBezTo>
                        <a:pt x="973391" y="993191"/>
                        <a:pt x="968387" y="990342"/>
                        <a:pt x="961953" y="986068"/>
                      </a:cubicBezTo>
                      <a:cubicBezTo>
                        <a:pt x="956235" y="981794"/>
                        <a:pt x="949086" y="975384"/>
                        <a:pt x="941223" y="967549"/>
                      </a:cubicBezTo>
                      <a:cubicBezTo>
                        <a:pt x="933360" y="959713"/>
                        <a:pt x="927641" y="953303"/>
                        <a:pt x="923352" y="946892"/>
                      </a:cubicBezTo>
                      <a:cubicBezTo>
                        <a:pt x="919063" y="941194"/>
                        <a:pt x="915489" y="936208"/>
                        <a:pt x="913344" y="931935"/>
                      </a:cubicBezTo>
                      <a:cubicBezTo>
                        <a:pt x="911200" y="927661"/>
                        <a:pt x="909770" y="923387"/>
                        <a:pt x="909055" y="919826"/>
                      </a:cubicBezTo>
                      <a:cubicBezTo>
                        <a:pt x="909055" y="919113"/>
                        <a:pt x="909055" y="918401"/>
                        <a:pt x="909055" y="917689"/>
                      </a:cubicBezTo>
                      <a:cubicBezTo>
                        <a:pt x="909770" y="916977"/>
                        <a:pt x="909770" y="916264"/>
                        <a:pt x="910485" y="916264"/>
                      </a:cubicBezTo>
                      <a:cubicBezTo>
                        <a:pt x="910485" y="916264"/>
                        <a:pt x="910485" y="916264"/>
                        <a:pt x="922637" y="903443"/>
                      </a:cubicBezTo>
                      <a:cubicBezTo>
                        <a:pt x="924782" y="901306"/>
                        <a:pt x="926211" y="898457"/>
                        <a:pt x="926926" y="895608"/>
                      </a:cubicBezTo>
                      <a:cubicBezTo>
                        <a:pt x="927641" y="892047"/>
                        <a:pt x="927641" y="889198"/>
                        <a:pt x="926211" y="886348"/>
                      </a:cubicBezTo>
                      <a:cubicBezTo>
                        <a:pt x="926211" y="886348"/>
                        <a:pt x="926211" y="886348"/>
                        <a:pt x="898333" y="834352"/>
                      </a:cubicBezTo>
                      <a:cubicBezTo>
                        <a:pt x="896903" y="832215"/>
                        <a:pt x="895473" y="830791"/>
                        <a:pt x="894044" y="829366"/>
                      </a:cubicBezTo>
                      <a:cubicBezTo>
                        <a:pt x="891899" y="827941"/>
                        <a:pt x="890470" y="827229"/>
                        <a:pt x="888325" y="827229"/>
                      </a:cubicBezTo>
                      <a:close/>
                      <a:moveTo>
                        <a:pt x="683850" y="565292"/>
                      </a:moveTo>
                      <a:cubicBezTo>
                        <a:pt x="692428" y="565292"/>
                        <a:pt x="699576" y="572421"/>
                        <a:pt x="699576" y="580976"/>
                      </a:cubicBezTo>
                      <a:cubicBezTo>
                        <a:pt x="699576" y="607354"/>
                        <a:pt x="690998" y="632305"/>
                        <a:pt x="675273" y="652979"/>
                      </a:cubicBezTo>
                      <a:cubicBezTo>
                        <a:pt x="675273" y="652979"/>
                        <a:pt x="675273" y="652979"/>
                        <a:pt x="813228" y="790570"/>
                      </a:cubicBezTo>
                      <a:cubicBezTo>
                        <a:pt x="896143" y="719280"/>
                        <a:pt x="1021946" y="722844"/>
                        <a:pt x="1100573" y="801264"/>
                      </a:cubicBezTo>
                      <a:cubicBezTo>
                        <a:pt x="1182774" y="883248"/>
                        <a:pt x="1182774" y="1016561"/>
                        <a:pt x="1100573" y="1099258"/>
                      </a:cubicBezTo>
                      <a:cubicBezTo>
                        <a:pt x="1017658" y="1181242"/>
                        <a:pt x="883992" y="1181242"/>
                        <a:pt x="801791" y="1099258"/>
                      </a:cubicBezTo>
                      <a:cubicBezTo>
                        <a:pt x="723164" y="1020838"/>
                        <a:pt x="719590" y="895367"/>
                        <a:pt x="791069" y="812670"/>
                      </a:cubicBezTo>
                      <a:cubicBezTo>
                        <a:pt x="791069" y="812670"/>
                        <a:pt x="791069" y="812670"/>
                        <a:pt x="642393" y="664386"/>
                      </a:cubicBezTo>
                      <a:cubicBezTo>
                        <a:pt x="636674" y="658683"/>
                        <a:pt x="636674" y="648702"/>
                        <a:pt x="642393" y="642286"/>
                      </a:cubicBezTo>
                      <a:cubicBezTo>
                        <a:pt x="658833" y="625889"/>
                        <a:pt x="668125" y="604502"/>
                        <a:pt x="668125" y="580976"/>
                      </a:cubicBezTo>
                      <a:cubicBezTo>
                        <a:pt x="668125" y="572421"/>
                        <a:pt x="675273" y="565292"/>
                        <a:pt x="683850" y="565292"/>
                      </a:cubicBezTo>
                      <a:close/>
                      <a:moveTo>
                        <a:pt x="95011" y="135079"/>
                      </a:moveTo>
                      <a:cubicBezTo>
                        <a:pt x="95011" y="135079"/>
                        <a:pt x="95011" y="135079"/>
                        <a:pt x="326562" y="135079"/>
                      </a:cubicBezTo>
                      <a:cubicBezTo>
                        <a:pt x="327274" y="135079"/>
                        <a:pt x="328699" y="136522"/>
                        <a:pt x="328699" y="137966"/>
                      </a:cubicBezTo>
                      <a:cubicBezTo>
                        <a:pt x="328699" y="137966"/>
                        <a:pt x="328699" y="137966"/>
                        <a:pt x="328699" y="251977"/>
                      </a:cubicBezTo>
                      <a:cubicBezTo>
                        <a:pt x="328699" y="252699"/>
                        <a:pt x="327274" y="254142"/>
                        <a:pt x="326562" y="254142"/>
                      </a:cubicBezTo>
                      <a:cubicBezTo>
                        <a:pt x="326562" y="254142"/>
                        <a:pt x="326562" y="254142"/>
                        <a:pt x="225392" y="254142"/>
                      </a:cubicBezTo>
                      <a:cubicBezTo>
                        <a:pt x="217555" y="254142"/>
                        <a:pt x="203306" y="254142"/>
                        <a:pt x="195469" y="254142"/>
                      </a:cubicBezTo>
                      <a:cubicBezTo>
                        <a:pt x="195469" y="254142"/>
                        <a:pt x="195469" y="254142"/>
                        <a:pt x="95011" y="254142"/>
                      </a:cubicBezTo>
                      <a:cubicBezTo>
                        <a:pt x="93586" y="254142"/>
                        <a:pt x="92161" y="252699"/>
                        <a:pt x="92161" y="251977"/>
                      </a:cubicBezTo>
                      <a:cubicBezTo>
                        <a:pt x="92161" y="251977"/>
                        <a:pt x="92161" y="251977"/>
                        <a:pt x="92161" y="137966"/>
                      </a:cubicBezTo>
                      <a:cubicBezTo>
                        <a:pt x="92161" y="136522"/>
                        <a:pt x="93586" y="135079"/>
                        <a:pt x="95011" y="135079"/>
                      </a:cubicBezTo>
                      <a:close/>
                      <a:moveTo>
                        <a:pt x="74941" y="114442"/>
                      </a:moveTo>
                      <a:cubicBezTo>
                        <a:pt x="72081" y="114442"/>
                        <a:pt x="69936" y="116575"/>
                        <a:pt x="69936" y="119418"/>
                      </a:cubicBezTo>
                      <a:cubicBezTo>
                        <a:pt x="69936" y="119418"/>
                        <a:pt x="69936" y="119418"/>
                        <a:pt x="69936" y="269401"/>
                      </a:cubicBezTo>
                      <a:cubicBezTo>
                        <a:pt x="69936" y="272244"/>
                        <a:pt x="72081" y="275088"/>
                        <a:pt x="74941" y="275088"/>
                      </a:cubicBezTo>
                      <a:cubicBezTo>
                        <a:pt x="74941" y="275088"/>
                        <a:pt x="74941" y="275088"/>
                        <a:pt x="186478" y="275088"/>
                      </a:cubicBezTo>
                      <a:cubicBezTo>
                        <a:pt x="186478" y="275088"/>
                        <a:pt x="186478" y="275088"/>
                        <a:pt x="186478" y="278642"/>
                      </a:cubicBezTo>
                      <a:cubicBezTo>
                        <a:pt x="186478" y="278642"/>
                        <a:pt x="186478" y="278642"/>
                        <a:pt x="167174" y="295701"/>
                      </a:cubicBezTo>
                      <a:cubicBezTo>
                        <a:pt x="165029" y="297123"/>
                        <a:pt x="165029" y="299256"/>
                        <a:pt x="165744" y="301388"/>
                      </a:cubicBezTo>
                      <a:cubicBezTo>
                        <a:pt x="166459" y="303520"/>
                        <a:pt x="168604" y="304942"/>
                        <a:pt x="170749" y="304942"/>
                      </a:cubicBezTo>
                      <a:cubicBezTo>
                        <a:pt x="170749" y="304942"/>
                        <a:pt x="170749" y="304942"/>
                        <a:pt x="250112" y="304942"/>
                      </a:cubicBezTo>
                      <a:cubicBezTo>
                        <a:pt x="252257" y="304942"/>
                        <a:pt x="254402" y="303520"/>
                        <a:pt x="255117" y="301388"/>
                      </a:cubicBezTo>
                      <a:cubicBezTo>
                        <a:pt x="255832" y="299256"/>
                        <a:pt x="255117" y="297123"/>
                        <a:pt x="253687" y="295701"/>
                      </a:cubicBezTo>
                      <a:cubicBezTo>
                        <a:pt x="253687" y="295701"/>
                        <a:pt x="253687" y="295701"/>
                        <a:pt x="233667" y="278642"/>
                      </a:cubicBezTo>
                      <a:cubicBezTo>
                        <a:pt x="233667" y="278642"/>
                        <a:pt x="233667" y="278642"/>
                        <a:pt x="233667" y="275088"/>
                      </a:cubicBezTo>
                      <a:cubicBezTo>
                        <a:pt x="233667" y="275088"/>
                        <a:pt x="233667" y="275088"/>
                        <a:pt x="345204" y="275088"/>
                      </a:cubicBezTo>
                      <a:cubicBezTo>
                        <a:pt x="348064" y="275088"/>
                        <a:pt x="350924" y="272244"/>
                        <a:pt x="350924" y="269401"/>
                      </a:cubicBezTo>
                      <a:cubicBezTo>
                        <a:pt x="350924" y="269401"/>
                        <a:pt x="350924" y="269401"/>
                        <a:pt x="350924" y="119418"/>
                      </a:cubicBezTo>
                      <a:cubicBezTo>
                        <a:pt x="350924" y="116575"/>
                        <a:pt x="348064" y="114442"/>
                        <a:pt x="345204" y="114442"/>
                      </a:cubicBezTo>
                      <a:cubicBezTo>
                        <a:pt x="345204" y="114442"/>
                        <a:pt x="345204" y="114442"/>
                        <a:pt x="74941" y="114442"/>
                      </a:cubicBezTo>
                      <a:close/>
                      <a:moveTo>
                        <a:pt x="211309" y="0"/>
                      </a:moveTo>
                      <a:cubicBezTo>
                        <a:pt x="265366" y="0"/>
                        <a:pt x="319332" y="20496"/>
                        <a:pt x="360433" y="61488"/>
                      </a:cubicBezTo>
                      <a:cubicBezTo>
                        <a:pt x="439060" y="139908"/>
                        <a:pt x="442634" y="265379"/>
                        <a:pt x="371154" y="348076"/>
                      </a:cubicBezTo>
                      <a:lnTo>
                        <a:pt x="519831" y="496360"/>
                      </a:lnTo>
                      <a:cubicBezTo>
                        <a:pt x="525549" y="502064"/>
                        <a:pt x="525549" y="512044"/>
                        <a:pt x="519831" y="518460"/>
                      </a:cubicBezTo>
                      <a:cubicBezTo>
                        <a:pt x="503391" y="534857"/>
                        <a:pt x="494098" y="556244"/>
                        <a:pt x="494098" y="579770"/>
                      </a:cubicBezTo>
                      <a:cubicBezTo>
                        <a:pt x="494098" y="588325"/>
                        <a:pt x="486951" y="595454"/>
                        <a:pt x="478373" y="595454"/>
                      </a:cubicBezTo>
                      <a:cubicBezTo>
                        <a:pt x="469796" y="595454"/>
                        <a:pt x="462648" y="588325"/>
                        <a:pt x="462648" y="579770"/>
                      </a:cubicBezTo>
                      <a:cubicBezTo>
                        <a:pt x="462648" y="553393"/>
                        <a:pt x="471225" y="528441"/>
                        <a:pt x="486951" y="507767"/>
                      </a:cubicBezTo>
                      <a:cubicBezTo>
                        <a:pt x="486951" y="507767"/>
                        <a:pt x="486951" y="507767"/>
                        <a:pt x="348996" y="370176"/>
                      </a:cubicBezTo>
                      <a:cubicBezTo>
                        <a:pt x="266080" y="441467"/>
                        <a:pt x="140277" y="437902"/>
                        <a:pt x="61650" y="359483"/>
                      </a:cubicBezTo>
                      <a:cubicBezTo>
                        <a:pt x="-20551" y="277498"/>
                        <a:pt x="-20551" y="144185"/>
                        <a:pt x="61650" y="61488"/>
                      </a:cubicBezTo>
                      <a:cubicBezTo>
                        <a:pt x="103108" y="20496"/>
                        <a:pt x="157253" y="0"/>
                        <a:pt x="211309" y="0"/>
                      </a:cubicBezTo>
                      <a:close/>
                    </a:path>
                  </a:pathLst>
                </a:custGeom>
                <a:solidFill>
                  <a:srgbClr val="3EA79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r" defTabSz="914400" rtl="1" eaLnBrk="1" latinLnBrk="0" hangingPunct="1"/>
                  <a:endParaRPr lang="ar-SA" dirty="0">
                    <a:latin typeface="DIN Next LT Arabic Light" panose="020B0303020203050203" pitchFamily="34" charset="-78"/>
                    <a:cs typeface="DIN Next LT Arabic Light" panose="020B0303020203050203" pitchFamily="34" charset="-78"/>
                    <a:sym typeface="DIN Next LT Arabic Light" panose="020B0303020203050203" pitchFamily="34" charset="-78"/>
                  </a:endParaRPr>
                </a:p>
              </p:txBody>
            </p:sp>
            <p:sp>
              <p:nvSpPr>
                <p:cNvPr id="122" name="Freeform 121">
                  <a:extLst>
                    <a:ext uri="{FF2B5EF4-FFF2-40B4-BE49-F238E27FC236}">
                      <a16:creationId xmlns:a16="http://schemas.microsoft.com/office/drawing/2014/main" id="{7E9C4DE0-FEEC-7743-9392-A6F3AA95C0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0330" y="2852632"/>
                  <a:ext cx="1159037" cy="1157513"/>
                </a:xfrm>
                <a:custGeom>
                  <a:avLst/>
                  <a:gdLst>
                    <a:gd name="connsiteX0" fmla="*/ 210432 w 1159037"/>
                    <a:gd name="connsiteY0" fmla="*/ 1043093 h 1157513"/>
                    <a:gd name="connsiteX1" fmla="*/ 225514 w 1159037"/>
                    <a:gd name="connsiteY1" fmla="*/ 1058175 h 1157513"/>
                    <a:gd name="connsiteX2" fmla="*/ 210432 w 1159037"/>
                    <a:gd name="connsiteY2" fmla="*/ 1073257 h 1157513"/>
                    <a:gd name="connsiteX3" fmla="*/ 195350 w 1159037"/>
                    <a:gd name="connsiteY3" fmla="*/ 1058175 h 1157513"/>
                    <a:gd name="connsiteX4" fmla="*/ 210432 w 1159037"/>
                    <a:gd name="connsiteY4" fmla="*/ 1043093 h 1157513"/>
                    <a:gd name="connsiteX5" fmla="*/ 153607 w 1159037"/>
                    <a:gd name="connsiteY5" fmla="*/ 817668 h 1157513"/>
                    <a:gd name="connsiteX6" fmla="*/ 268843 w 1159037"/>
                    <a:gd name="connsiteY6" fmla="*/ 817668 h 1157513"/>
                    <a:gd name="connsiteX7" fmla="*/ 273137 w 1159037"/>
                    <a:gd name="connsiteY7" fmla="*/ 822659 h 1157513"/>
                    <a:gd name="connsiteX8" fmla="*/ 273137 w 1159037"/>
                    <a:gd name="connsiteY8" fmla="*/ 1016590 h 1157513"/>
                    <a:gd name="connsiteX9" fmla="*/ 268843 w 1159037"/>
                    <a:gd name="connsiteY9" fmla="*/ 1020868 h 1157513"/>
                    <a:gd name="connsiteX10" fmla="*/ 153607 w 1159037"/>
                    <a:gd name="connsiteY10" fmla="*/ 1020868 h 1157513"/>
                    <a:gd name="connsiteX11" fmla="*/ 149312 w 1159037"/>
                    <a:gd name="connsiteY11" fmla="*/ 1016590 h 1157513"/>
                    <a:gd name="connsiteX12" fmla="*/ 149312 w 1159037"/>
                    <a:gd name="connsiteY12" fmla="*/ 822659 h 1157513"/>
                    <a:gd name="connsiteX13" fmla="*/ 153607 w 1159037"/>
                    <a:gd name="connsiteY13" fmla="*/ 817668 h 1157513"/>
                    <a:gd name="connsiteX14" fmla="*/ 139397 w 1159037"/>
                    <a:gd name="connsiteY14" fmla="*/ 797031 h 1157513"/>
                    <a:gd name="connsiteX15" fmla="*/ 128676 w 1159037"/>
                    <a:gd name="connsiteY15" fmla="*/ 807710 h 1157513"/>
                    <a:gd name="connsiteX16" fmla="*/ 128676 w 1159037"/>
                    <a:gd name="connsiteY16" fmla="*/ 1083216 h 1157513"/>
                    <a:gd name="connsiteX17" fmla="*/ 139397 w 1159037"/>
                    <a:gd name="connsiteY17" fmla="*/ 1093894 h 1157513"/>
                    <a:gd name="connsiteX18" fmla="*/ 283055 w 1159037"/>
                    <a:gd name="connsiteY18" fmla="*/ 1093894 h 1157513"/>
                    <a:gd name="connsiteX19" fmla="*/ 293776 w 1159037"/>
                    <a:gd name="connsiteY19" fmla="*/ 1083216 h 1157513"/>
                    <a:gd name="connsiteX20" fmla="*/ 293776 w 1159037"/>
                    <a:gd name="connsiteY20" fmla="*/ 807710 h 1157513"/>
                    <a:gd name="connsiteX21" fmla="*/ 283055 w 1159037"/>
                    <a:gd name="connsiteY21" fmla="*/ 797031 h 1157513"/>
                    <a:gd name="connsiteX22" fmla="*/ 139397 w 1159037"/>
                    <a:gd name="connsiteY22" fmla="*/ 797031 h 1157513"/>
                    <a:gd name="connsiteX23" fmla="*/ 508450 w 1159037"/>
                    <a:gd name="connsiteY23" fmla="*/ 634945 h 1157513"/>
                    <a:gd name="connsiteX24" fmla="*/ 519797 w 1159037"/>
                    <a:gd name="connsiteY24" fmla="*/ 639227 h 1157513"/>
                    <a:gd name="connsiteX25" fmla="*/ 581265 w 1159037"/>
                    <a:gd name="connsiteY25" fmla="*/ 664919 h 1157513"/>
                    <a:gd name="connsiteX26" fmla="*/ 596989 w 1159037"/>
                    <a:gd name="connsiteY26" fmla="*/ 680619 h 1157513"/>
                    <a:gd name="connsiteX27" fmla="*/ 581265 w 1159037"/>
                    <a:gd name="connsiteY27" fmla="*/ 696319 h 1157513"/>
                    <a:gd name="connsiteX28" fmla="*/ 509076 w 1159037"/>
                    <a:gd name="connsiteY28" fmla="*/ 672055 h 1157513"/>
                    <a:gd name="connsiteX29" fmla="*/ 371130 w 1159037"/>
                    <a:gd name="connsiteY29" fmla="*/ 809789 h 1157513"/>
                    <a:gd name="connsiteX30" fmla="*/ 360409 w 1159037"/>
                    <a:gd name="connsiteY30" fmla="*/ 1095962 h 1157513"/>
                    <a:gd name="connsiteX31" fmla="*/ 61647 w 1159037"/>
                    <a:gd name="connsiteY31" fmla="*/ 1095962 h 1157513"/>
                    <a:gd name="connsiteX32" fmla="*/ 61647 w 1159037"/>
                    <a:gd name="connsiteY32" fmla="*/ 797657 h 1157513"/>
                    <a:gd name="connsiteX33" fmla="*/ 348973 w 1159037"/>
                    <a:gd name="connsiteY33" fmla="*/ 787666 h 1157513"/>
                    <a:gd name="connsiteX34" fmla="*/ 497640 w 1159037"/>
                    <a:gd name="connsiteY34" fmla="*/ 639227 h 1157513"/>
                    <a:gd name="connsiteX35" fmla="*/ 508450 w 1159037"/>
                    <a:gd name="connsiteY35" fmla="*/ 634945 h 1157513"/>
                    <a:gd name="connsiteX36" fmla="*/ 581112 w 1159037"/>
                    <a:gd name="connsiteY36" fmla="*/ 530331 h 1157513"/>
                    <a:gd name="connsiteX37" fmla="*/ 628737 w 1159037"/>
                    <a:gd name="connsiteY37" fmla="*/ 577163 h 1157513"/>
                    <a:gd name="connsiteX38" fmla="*/ 581112 w 1159037"/>
                    <a:gd name="connsiteY38" fmla="*/ 623995 h 1157513"/>
                    <a:gd name="connsiteX39" fmla="*/ 533487 w 1159037"/>
                    <a:gd name="connsiteY39" fmla="*/ 577163 h 1157513"/>
                    <a:gd name="connsiteX40" fmla="*/ 581112 w 1159037"/>
                    <a:gd name="connsiteY40" fmla="*/ 530331 h 1157513"/>
                    <a:gd name="connsiteX41" fmla="*/ 947825 w 1159037"/>
                    <a:gd name="connsiteY41" fmla="*/ 189018 h 1157513"/>
                    <a:gd name="connsiteX42" fmla="*/ 927187 w 1159037"/>
                    <a:gd name="connsiteY42" fmla="*/ 209656 h 1157513"/>
                    <a:gd name="connsiteX43" fmla="*/ 947825 w 1159037"/>
                    <a:gd name="connsiteY43" fmla="*/ 230294 h 1157513"/>
                    <a:gd name="connsiteX44" fmla="*/ 968463 w 1159037"/>
                    <a:gd name="connsiteY44" fmla="*/ 209656 h 1157513"/>
                    <a:gd name="connsiteX45" fmla="*/ 947825 w 1159037"/>
                    <a:gd name="connsiteY45" fmla="*/ 189018 h 1157513"/>
                    <a:gd name="connsiteX46" fmla="*/ 992489 w 1159037"/>
                    <a:gd name="connsiteY46" fmla="*/ 157102 h 1157513"/>
                    <a:gd name="connsiteX47" fmla="*/ 981848 w 1159037"/>
                    <a:gd name="connsiteY47" fmla="*/ 161363 h 1157513"/>
                    <a:gd name="connsiteX48" fmla="*/ 981144 w 1159037"/>
                    <a:gd name="connsiteY48" fmla="*/ 183379 h 1157513"/>
                    <a:gd name="connsiteX49" fmla="*/ 980441 w 1159037"/>
                    <a:gd name="connsiteY49" fmla="*/ 238064 h 1157513"/>
                    <a:gd name="connsiteX50" fmla="*/ 982551 w 1159037"/>
                    <a:gd name="connsiteY50" fmla="*/ 260080 h 1157513"/>
                    <a:gd name="connsiteX51" fmla="*/ 992401 w 1159037"/>
                    <a:gd name="connsiteY51" fmla="*/ 263631 h 1157513"/>
                    <a:gd name="connsiteX52" fmla="*/ 1004362 w 1159037"/>
                    <a:gd name="connsiteY52" fmla="*/ 257239 h 1157513"/>
                    <a:gd name="connsiteX53" fmla="*/ 1003658 w 1159037"/>
                    <a:gd name="connsiteY53" fmla="*/ 161363 h 1157513"/>
                    <a:gd name="connsiteX54" fmla="*/ 992489 w 1159037"/>
                    <a:gd name="connsiteY54" fmla="*/ 157102 h 1157513"/>
                    <a:gd name="connsiteX55" fmla="*/ 903337 w 1159037"/>
                    <a:gd name="connsiteY55" fmla="*/ 157102 h 1157513"/>
                    <a:gd name="connsiteX56" fmla="*/ 892696 w 1159037"/>
                    <a:gd name="connsiteY56" fmla="*/ 161363 h 1157513"/>
                    <a:gd name="connsiteX57" fmla="*/ 891289 w 1159037"/>
                    <a:gd name="connsiteY57" fmla="*/ 257239 h 1157513"/>
                    <a:gd name="connsiteX58" fmla="*/ 903249 w 1159037"/>
                    <a:gd name="connsiteY58" fmla="*/ 263631 h 1157513"/>
                    <a:gd name="connsiteX59" fmla="*/ 913099 w 1159037"/>
                    <a:gd name="connsiteY59" fmla="*/ 260080 h 1157513"/>
                    <a:gd name="connsiteX60" fmla="*/ 915913 w 1159037"/>
                    <a:gd name="connsiteY60" fmla="*/ 238064 h 1157513"/>
                    <a:gd name="connsiteX61" fmla="*/ 914506 w 1159037"/>
                    <a:gd name="connsiteY61" fmla="*/ 183379 h 1157513"/>
                    <a:gd name="connsiteX62" fmla="*/ 914506 w 1159037"/>
                    <a:gd name="connsiteY62" fmla="*/ 161363 h 1157513"/>
                    <a:gd name="connsiteX63" fmla="*/ 903337 w 1159037"/>
                    <a:gd name="connsiteY63" fmla="*/ 157102 h 1157513"/>
                    <a:gd name="connsiteX64" fmla="*/ 1028876 w 1159037"/>
                    <a:gd name="connsiteY64" fmla="*/ 125443 h 1157513"/>
                    <a:gd name="connsiteX65" fmla="*/ 1017675 w 1159037"/>
                    <a:gd name="connsiteY65" fmla="*/ 129622 h 1157513"/>
                    <a:gd name="connsiteX66" fmla="*/ 1017675 w 1159037"/>
                    <a:gd name="connsiteY66" fmla="*/ 152388 h 1157513"/>
                    <a:gd name="connsiteX67" fmla="*/ 1016264 w 1159037"/>
                    <a:gd name="connsiteY67" fmla="*/ 270482 h 1157513"/>
                    <a:gd name="connsiteX68" fmla="*/ 1019086 w 1159037"/>
                    <a:gd name="connsiteY68" fmla="*/ 292535 h 1157513"/>
                    <a:gd name="connsiteX69" fmla="*/ 1028964 w 1159037"/>
                    <a:gd name="connsiteY69" fmla="*/ 295381 h 1157513"/>
                    <a:gd name="connsiteX70" fmla="*/ 1040959 w 1159037"/>
                    <a:gd name="connsiteY70" fmla="*/ 289690 h 1157513"/>
                    <a:gd name="connsiteX71" fmla="*/ 1039547 w 1159037"/>
                    <a:gd name="connsiteY71" fmla="*/ 130334 h 1157513"/>
                    <a:gd name="connsiteX72" fmla="*/ 1028876 w 1159037"/>
                    <a:gd name="connsiteY72" fmla="*/ 125443 h 1157513"/>
                    <a:gd name="connsiteX73" fmla="*/ 867306 w 1159037"/>
                    <a:gd name="connsiteY73" fmla="*/ 125443 h 1157513"/>
                    <a:gd name="connsiteX74" fmla="*/ 856429 w 1159037"/>
                    <a:gd name="connsiteY74" fmla="*/ 130334 h 1157513"/>
                    <a:gd name="connsiteX75" fmla="*/ 854991 w 1159037"/>
                    <a:gd name="connsiteY75" fmla="*/ 289690 h 1157513"/>
                    <a:gd name="connsiteX76" fmla="*/ 867935 w 1159037"/>
                    <a:gd name="connsiteY76" fmla="*/ 295381 h 1157513"/>
                    <a:gd name="connsiteX77" fmla="*/ 877284 w 1159037"/>
                    <a:gd name="connsiteY77" fmla="*/ 292535 h 1157513"/>
                    <a:gd name="connsiteX78" fmla="*/ 880160 w 1159037"/>
                    <a:gd name="connsiteY78" fmla="*/ 270482 h 1157513"/>
                    <a:gd name="connsiteX79" fmla="*/ 879441 w 1159037"/>
                    <a:gd name="connsiteY79" fmla="*/ 152388 h 1157513"/>
                    <a:gd name="connsiteX80" fmla="*/ 878722 w 1159037"/>
                    <a:gd name="connsiteY80" fmla="*/ 129622 h 1157513"/>
                    <a:gd name="connsiteX81" fmla="*/ 867306 w 1159037"/>
                    <a:gd name="connsiteY81" fmla="*/ 125443 h 1157513"/>
                    <a:gd name="connsiteX82" fmla="*/ 1064232 w 1159037"/>
                    <a:gd name="connsiteY82" fmla="*/ 92202 h 1157513"/>
                    <a:gd name="connsiteX83" fmla="*/ 1052756 w 1159037"/>
                    <a:gd name="connsiteY83" fmla="*/ 97029 h 1157513"/>
                    <a:gd name="connsiteX84" fmla="*/ 1052756 w 1159037"/>
                    <a:gd name="connsiteY84" fmla="*/ 119197 h 1157513"/>
                    <a:gd name="connsiteX85" fmla="*/ 1082394 w 1159037"/>
                    <a:gd name="connsiteY85" fmla="*/ 172113 h 1157513"/>
                    <a:gd name="connsiteX86" fmla="*/ 1051310 w 1159037"/>
                    <a:gd name="connsiteY86" fmla="*/ 303690 h 1157513"/>
                    <a:gd name="connsiteX87" fmla="*/ 1054202 w 1159037"/>
                    <a:gd name="connsiteY87" fmla="*/ 325858 h 1157513"/>
                    <a:gd name="connsiteX88" fmla="*/ 1064322 w 1159037"/>
                    <a:gd name="connsiteY88" fmla="*/ 328718 h 1157513"/>
                    <a:gd name="connsiteX89" fmla="*/ 1076611 w 1159037"/>
                    <a:gd name="connsiteY89" fmla="*/ 322997 h 1157513"/>
                    <a:gd name="connsiteX90" fmla="*/ 1113478 w 1159037"/>
                    <a:gd name="connsiteY90" fmla="*/ 162817 h 1157513"/>
                    <a:gd name="connsiteX91" fmla="*/ 1075166 w 1159037"/>
                    <a:gd name="connsiteY91" fmla="*/ 97029 h 1157513"/>
                    <a:gd name="connsiteX92" fmla="*/ 1064232 w 1159037"/>
                    <a:gd name="connsiteY92" fmla="*/ 92202 h 1157513"/>
                    <a:gd name="connsiteX93" fmla="*/ 832198 w 1159037"/>
                    <a:gd name="connsiteY93" fmla="*/ 92202 h 1157513"/>
                    <a:gd name="connsiteX94" fmla="*/ 820879 w 1159037"/>
                    <a:gd name="connsiteY94" fmla="*/ 97029 h 1157513"/>
                    <a:gd name="connsiteX95" fmla="*/ 783801 w 1159037"/>
                    <a:gd name="connsiteY95" fmla="*/ 162817 h 1157513"/>
                    <a:gd name="connsiteX96" fmla="*/ 817314 w 1159037"/>
                    <a:gd name="connsiteY96" fmla="*/ 320137 h 1157513"/>
                    <a:gd name="connsiteX97" fmla="*/ 819453 w 1159037"/>
                    <a:gd name="connsiteY97" fmla="*/ 322997 h 1157513"/>
                    <a:gd name="connsiteX98" fmla="*/ 832287 w 1159037"/>
                    <a:gd name="connsiteY98" fmla="*/ 328718 h 1157513"/>
                    <a:gd name="connsiteX99" fmla="*/ 841557 w 1159037"/>
                    <a:gd name="connsiteY99" fmla="*/ 325858 h 1157513"/>
                    <a:gd name="connsiteX100" fmla="*/ 847261 w 1159037"/>
                    <a:gd name="connsiteY100" fmla="*/ 308696 h 1157513"/>
                    <a:gd name="connsiteX101" fmla="*/ 844409 w 1159037"/>
                    <a:gd name="connsiteY101" fmla="*/ 303690 h 1157513"/>
                    <a:gd name="connsiteX102" fmla="*/ 842983 w 1159037"/>
                    <a:gd name="connsiteY102" fmla="*/ 119197 h 1157513"/>
                    <a:gd name="connsiteX103" fmla="*/ 842983 w 1159037"/>
                    <a:gd name="connsiteY103" fmla="*/ 97029 h 1157513"/>
                    <a:gd name="connsiteX104" fmla="*/ 832198 w 1159037"/>
                    <a:gd name="connsiteY104" fmla="*/ 92202 h 1157513"/>
                    <a:gd name="connsiteX105" fmla="*/ 948141 w 1159037"/>
                    <a:gd name="connsiteY105" fmla="*/ 0 h 1157513"/>
                    <a:gd name="connsiteX106" fmla="*/ 1097351 w 1159037"/>
                    <a:gd name="connsiteY106" fmla="*/ 61597 h 1157513"/>
                    <a:gd name="connsiteX107" fmla="*/ 1097351 w 1159037"/>
                    <a:gd name="connsiteY107" fmla="*/ 360119 h 1157513"/>
                    <a:gd name="connsiteX108" fmla="*/ 810553 w 1159037"/>
                    <a:gd name="connsiteY108" fmla="*/ 370831 h 1157513"/>
                    <a:gd name="connsiteX109" fmla="*/ 664651 w 1159037"/>
                    <a:gd name="connsiteY109" fmla="*/ 516521 h 1157513"/>
                    <a:gd name="connsiteX110" fmla="*/ 653923 w 1159037"/>
                    <a:gd name="connsiteY110" fmla="*/ 520806 h 1157513"/>
                    <a:gd name="connsiteX111" fmla="*/ 642480 w 1159037"/>
                    <a:gd name="connsiteY111" fmla="*/ 516521 h 1157513"/>
                    <a:gd name="connsiteX112" fmla="*/ 580972 w 1159037"/>
                    <a:gd name="connsiteY112" fmla="*/ 490811 h 1157513"/>
                    <a:gd name="connsiteX113" fmla="*/ 565237 w 1159037"/>
                    <a:gd name="connsiteY113" fmla="*/ 475100 h 1157513"/>
                    <a:gd name="connsiteX114" fmla="*/ 580972 w 1159037"/>
                    <a:gd name="connsiteY114" fmla="*/ 459388 h 1157513"/>
                    <a:gd name="connsiteX115" fmla="*/ 653208 w 1159037"/>
                    <a:gd name="connsiteY115" fmla="*/ 483669 h 1157513"/>
                    <a:gd name="connsiteX116" fmla="*/ 788382 w 1159037"/>
                    <a:gd name="connsiteY116" fmla="*/ 348692 h 1157513"/>
                    <a:gd name="connsiteX117" fmla="*/ 798395 w 1159037"/>
                    <a:gd name="connsiteY117" fmla="*/ 61597 h 1157513"/>
                    <a:gd name="connsiteX118" fmla="*/ 948141 w 1159037"/>
                    <a:gd name="connsiteY118" fmla="*/ 0 h 1157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</a:cxnLst>
                  <a:rect l="l" t="t" r="r" b="b"/>
                  <a:pathLst>
                    <a:path w="1159037" h="1157513">
                      <a:moveTo>
                        <a:pt x="210432" y="1043093"/>
                      </a:moveTo>
                      <a:cubicBezTo>
                        <a:pt x="218762" y="1043093"/>
                        <a:pt x="225514" y="1049845"/>
                        <a:pt x="225514" y="1058175"/>
                      </a:cubicBezTo>
                      <a:cubicBezTo>
                        <a:pt x="225514" y="1066505"/>
                        <a:pt x="218762" y="1073257"/>
                        <a:pt x="210432" y="1073257"/>
                      </a:cubicBezTo>
                      <a:cubicBezTo>
                        <a:pt x="202102" y="1073257"/>
                        <a:pt x="195350" y="1066505"/>
                        <a:pt x="195350" y="1058175"/>
                      </a:cubicBezTo>
                      <a:cubicBezTo>
                        <a:pt x="195350" y="1049845"/>
                        <a:pt x="202102" y="1043093"/>
                        <a:pt x="210432" y="1043093"/>
                      </a:cubicBezTo>
                      <a:close/>
                      <a:moveTo>
                        <a:pt x="153607" y="817668"/>
                      </a:moveTo>
                      <a:cubicBezTo>
                        <a:pt x="153607" y="817668"/>
                        <a:pt x="153607" y="817668"/>
                        <a:pt x="268843" y="817668"/>
                      </a:cubicBezTo>
                      <a:cubicBezTo>
                        <a:pt x="270990" y="817668"/>
                        <a:pt x="273137" y="819807"/>
                        <a:pt x="273137" y="822659"/>
                      </a:cubicBezTo>
                      <a:cubicBezTo>
                        <a:pt x="273137" y="822659"/>
                        <a:pt x="273137" y="822659"/>
                        <a:pt x="273137" y="1016590"/>
                      </a:cubicBezTo>
                      <a:cubicBezTo>
                        <a:pt x="273137" y="1018729"/>
                        <a:pt x="270990" y="1020868"/>
                        <a:pt x="268843" y="1020868"/>
                      </a:cubicBezTo>
                      <a:cubicBezTo>
                        <a:pt x="268843" y="1020868"/>
                        <a:pt x="268843" y="1020868"/>
                        <a:pt x="153607" y="1020868"/>
                      </a:cubicBezTo>
                      <a:cubicBezTo>
                        <a:pt x="151460" y="1020868"/>
                        <a:pt x="149312" y="1018729"/>
                        <a:pt x="149312" y="1016590"/>
                      </a:cubicBezTo>
                      <a:cubicBezTo>
                        <a:pt x="149312" y="1016590"/>
                        <a:pt x="149312" y="1016590"/>
                        <a:pt x="149312" y="822659"/>
                      </a:cubicBezTo>
                      <a:cubicBezTo>
                        <a:pt x="149312" y="819807"/>
                        <a:pt x="151460" y="817668"/>
                        <a:pt x="153607" y="817668"/>
                      </a:cubicBezTo>
                      <a:close/>
                      <a:moveTo>
                        <a:pt x="139397" y="797031"/>
                      </a:moveTo>
                      <a:cubicBezTo>
                        <a:pt x="133679" y="797031"/>
                        <a:pt x="128676" y="802014"/>
                        <a:pt x="128676" y="807710"/>
                      </a:cubicBezTo>
                      <a:cubicBezTo>
                        <a:pt x="128676" y="807710"/>
                        <a:pt x="128676" y="807710"/>
                        <a:pt x="128676" y="1083216"/>
                      </a:cubicBezTo>
                      <a:cubicBezTo>
                        <a:pt x="128676" y="1089623"/>
                        <a:pt x="133679" y="1093894"/>
                        <a:pt x="139397" y="1093894"/>
                      </a:cubicBezTo>
                      <a:cubicBezTo>
                        <a:pt x="139397" y="1093894"/>
                        <a:pt x="139397" y="1093894"/>
                        <a:pt x="283055" y="1093894"/>
                      </a:cubicBezTo>
                      <a:cubicBezTo>
                        <a:pt x="288773" y="1093894"/>
                        <a:pt x="293776" y="1089623"/>
                        <a:pt x="293776" y="1083216"/>
                      </a:cubicBezTo>
                      <a:lnTo>
                        <a:pt x="293776" y="807710"/>
                      </a:lnTo>
                      <a:cubicBezTo>
                        <a:pt x="293776" y="802014"/>
                        <a:pt x="288773" y="797031"/>
                        <a:pt x="283055" y="797031"/>
                      </a:cubicBezTo>
                      <a:cubicBezTo>
                        <a:pt x="283055" y="797031"/>
                        <a:pt x="283055" y="797031"/>
                        <a:pt x="139397" y="797031"/>
                      </a:cubicBezTo>
                      <a:close/>
                      <a:moveTo>
                        <a:pt x="508450" y="634945"/>
                      </a:moveTo>
                      <a:cubicBezTo>
                        <a:pt x="512471" y="634945"/>
                        <a:pt x="516581" y="636373"/>
                        <a:pt x="519797" y="639227"/>
                      </a:cubicBezTo>
                      <a:cubicBezTo>
                        <a:pt x="536236" y="655641"/>
                        <a:pt x="557678" y="664919"/>
                        <a:pt x="581265" y="664919"/>
                      </a:cubicBezTo>
                      <a:cubicBezTo>
                        <a:pt x="589842" y="664919"/>
                        <a:pt x="596989" y="672055"/>
                        <a:pt x="596989" y="680619"/>
                      </a:cubicBezTo>
                      <a:cubicBezTo>
                        <a:pt x="596989" y="689183"/>
                        <a:pt x="589842" y="696319"/>
                        <a:pt x="581265" y="696319"/>
                      </a:cubicBezTo>
                      <a:cubicBezTo>
                        <a:pt x="554819" y="696319"/>
                        <a:pt x="529803" y="687755"/>
                        <a:pt x="509076" y="672055"/>
                      </a:cubicBezTo>
                      <a:cubicBezTo>
                        <a:pt x="509076" y="672055"/>
                        <a:pt x="509076" y="672055"/>
                        <a:pt x="371130" y="809789"/>
                      </a:cubicBezTo>
                      <a:cubicBezTo>
                        <a:pt x="442605" y="892572"/>
                        <a:pt x="439031" y="1017460"/>
                        <a:pt x="360409" y="1095962"/>
                      </a:cubicBezTo>
                      <a:cubicBezTo>
                        <a:pt x="278214" y="1178031"/>
                        <a:pt x="144557" y="1178031"/>
                        <a:pt x="61647" y="1095962"/>
                      </a:cubicBezTo>
                      <a:cubicBezTo>
                        <a:pt x="-20549" y="1013892"/>
                        <a:pt x="-20549" y="880440"/>
                        <a:pt x="61647" y="797657"/>
                      </a:cubicBezTo>
                      <a:cubicBezTo>
                        <a:pt x="140268" y="719156"/>
                        <a:pt x="266063" y="715588"/>
                        <a:pt x="348973" y="787666"/>
                      </a:cubicBezTo>
                      <a:cubicBezTo>
                        <a:pt x="348973" y="787666"/>
                        <a:pt x="348973" y="787666"/>
                        <a:pt x="497640" y="639227"/>
                      </a:cubicBezTo>
                      <a:cubicBezTo>
                        <a:pt x="500499" y="636373"/>
                        <a:pt x="504430" y="634945"/>
                        <a:pt x="508450" y="634945"/>
                      </a:cubicBezTo>
                      <a:close/>
                      <a:moveTo>
                        <a:pt x="581112" y="530331"/>
                      </a:moveTo>
                      <a:cubicBezTo>
                        <a:pt x="607415" y="530331"/>
                        <a:pt x="628737" y="551298"/>
                        <a:pt x="628737" y="577163"/>
                      </a:cubicBezTo>
                      <a:cubicBezTo>
                        <a:pt x="628737" y="603028"/>
                        <a:pt x="607415" y="623995"/>
                        <a:pt x="581112" y="623995"/>
                      </a:cubicBezTo>
                      <a:cubicBezTo>
                        <a:pt x="554809" y="623995"/>
                        <a:pt x="533487" y="603028"/>
                        <a:pt x="533487" y="577163"/>
                      </a:cubicBezTo>
                      <a:cubicBezTo>
                        <a:pt x="533487" y="551298"/>
                        <a:pt x="554809" y="530331"/>
                        <a:pt x="581112" y="530331"/>
                      </a:cubicBezTo>
                      <a:close/>
                      <a:moveTo>
                        <a:pt x="947825" y="189018"/>
                      </a:moveTo>
                      <a:cubicBezTo>
                        <a:pt x="936427" y="189018"/>
                        <a:pt x="927187" y="198258"/>
                        <a:pt x="927187" y="209656"/>
                      </a:cubicBezTo>
                      <a:cubicBezTo>
                        <a:pt x="927187" y="221054"/>
                        <a:pt x="936427" y="230294"/>
                        <a:pt x="947825" y="230294"/>
                      </a:cubicBezTo>
                      <a:cubicBezTo>
                        <a:pt x="959223" y="230294"/>
                        <a:pt x="968463" y="221054"/>
                        <a:pt x="968463" y="209656"/>
                      </a:cubicBezTo>
                      <a:cubicBezTo>
                        <a:pt x="968463" y="198258"/>
                        <a:pt x="959223" y="189018"/>
                        <a:pt x="947825" y="189018"/>
                      </a:cubicBezTo>
                      <a:close/>
                      <a:moveTo>
                        <a:pt x="992489" y="157102"/>
                      </a:moveTo>
                      <a:cubicBezTo>
                        <a:pt x="988532" y="157102"/>
                        <a:pt x="984662" y="158522"/>
                        <a:pt x="981848" y="161363"/>
                      </a:cubicBezTo>
                      <a:cubicBezTo>
                        <a:pt x="975516" y="167754"/>
                        <a:pt x="975516" y="177697"/>
                        <a:pt x="981144" y="183379"/>
                      </a:cubicBezTo>
                      <a:cubicBezTo>
                        <a:pt x="982551" y="184799"/>
                        <a:pt x="1004362" y="207526"/>
                        <a:pt x="980441" y="238064"/>
                      </a:cubicBezTo>
                      <a:cubicBezTo>
                        <a:pt x="974812" y="245166"/>
                        <a:pt x="976219" y="255109"/>
                        <a:pt x="982551" y="260080"/>
                      </a:cubicBezTo>
                      <a:cubicBezTo>
                        <a:pt x="985366" y="262211"/>
                        <a:pt x="988883" y="263631"/>
                        <a:pt x="992401" y="263631"/>
                      </a:cubicBezTo>
                      <a:cubicBezTo>
                        <a:pt x="997326" y="263631"/>
                        <a:pt x="1001547" y="261501"/>
                        <a:pt x="1004362" y="257239"/>
                      </a:cubicBezTo>
                      <a:cubicBezTo>
                        <a:pt x="1036725" y="216048"/>
                        <a:pt x="1017729" y="176277"/>
                        <a:pt x="1003658" y="161363"/>
                      </a:cubicBezTo>
                      <a:cubicBezTo>
                        <a:pt x="1000492" y="158522"/>
                        <a:pt x="996447" y="157102"/>
                        <a:pt x="992489" y="157102"/>
                      </a:cubicBezTo>
                      <a:close/>
                      <a:moveTo>
                        <a:pt x="903337" y="157102"/>
                      </a:moveTo>
                      <a:cubicBezTo>
                        <a:pt x="899380" y="157102"/>
                        <a:pt x="895510" y="158522"/>
                        <a:pt x="892696" y="161363"/>
                      </a:cubicBezTo>
                      <a:cubicBezTo>
                        <a:pt x="877921" y="176277"/>
                        <a:pt x="858925" y="216048"/>
                        <a:pt x="891289" y="257239"/>
                      </a:cubicBezTo>
                      <a:cubicBezTo>
                        <a:pt x="894103" y="261501"/>
                        <a:pt x="899028" y="263631"/>
                        <a:pt x="903249" y="263631"/>
                      </a:cubicBezTo>
                      <a:cubicBezTo>
                        <a:pt x="906767" y="263631"/>
                        <a:pt x="910285" y="262211"/>
                        <a:pt x="913099" y="260080"/>
                      </a:cubicBezTo>
                      <a:cubicBezTo>
                        <a:pt x="920135" y="255109"/>
                        <a:pt x="920838" y="245166"/>
                        <a:pt x="915913" y="238064"/>
                      </a:cubicBezTo>
                      <a:cubicBezTo>
                        <a:pt x="893400" y="208946"/>
                        <a:pt x="910988" y="187640"/>
                        <a:pt x="914506" y="183379"/>
                      </a:cubicBezTo>
                      <a:cubicBezTo>
                        <a:pt x="920838" y="176987"/>
                        <a:pt x="920135" y="167754"/>
                        <a:pt x="914506" y="161363"/>
                      </a:cubicBezTo>
                      <a:cubicBezTo>
                        <a:pt x="911340" y="158522"/>
                        <a:pt x="907295" y="157102"/>
                        <a:pt x="903337" y="157102"/>
                      </a:cubicBezTo>
                      <a:close/>
                      <a:moveTo>
                        <a:pt x="1028876" y="125443"/>
                      </a:moveTo>
                      <a:cubicBezTo>
                        <a:pt x="1024907" y="125354"/>
                        <a:pt x="1020850" y="126777"/>
                        <a:pt x="1017675" y="129622"/>
                      </a:cubicBezTo>
                      <a:cubicBezTo>
                        <a:pt x="1012031" y="136025"/>
                        <a:pt x="1011325" y="145985"/>
                        <a:pt x="1017675" y="152388"/>
                      </a:cubicBezTo>
                      <a:cubicBezTo>
                        <a:pt x="1019086" y="154522"/>
                        <a:pt x="1065653" y="205032"/>
                        <a:pt x="1016264" y="270482"/>
                      </a:cubicBezTo>
                      <a:cubicBezTo>
                        <a:pt x="1011325" y="276884"/>
                        <a:pt x="1012736" y="286844"/>
                        <a:pt x="1019086" y="292535"/>
                      </a:cubicBezTo>
                      <a:cubicBezTo>
                        <a:pt x="1021909" y="294670"/>
                        <a:pt x="1025436" y="295381"/>
                        <a:pt x="1028964" y="295381"/>
                      </a:cubicBezTo>
                      <a:cubicBezTo>
                        <a:pt x="1033197" y="295381"/>
                        <a:pt x="1038136" y="293247"/>
                        <a:pt x="1040959" y="289690"/>
                      </a:cubicBezTo>
                      <a:cubicBezTo>
                        <a:pt x="1093875" y="219972"/>
                        <a:pt x="1063536" y="155233"/>
                        <a:pt x="1039547" y="130334"/>
                      </a:cubicBezTo>
                      <a:cubicBezTo>
                        <a:pt x="1036725" y="127133"/>
                        <a:pt x="1032845" y="125532"/>
                        <a:pt x="1028876" y="125443"/>
                      </a:cubicBezTo>
                      <a:close/>
                      <a:moveTo>
                        <a:pt x="867306" y="125443"/>
                      </a:moveTo>
                      <a:cubicBezTo>
                        <a:pt x="863261" y="125532"/>
                        <a:pt x="859306" y="127133"/>
                        <a:pt x="856429" y="130334"/>
                      </a:cubicBezTo>
                      <a:cubicBezTo>
                        <a:pt x="832698" y="155233"/>
                        <a:pt x="801775" y="219972"/>
                        <a:pt x="854991" y="289690"/>
                      </a:cubicBezTo>
                      <a:cubicBezTo>
                        <a:pt x="858586" y="293247"/>
                        <a:pt x="862901" y="295381"/>
                        <a:pt x="867935" y="295381"/>
                      </a:cubicBezTo>
                      <a:cubicBezTo>
                        <a:pt x="871531" y="295381"/>
                        <a:pt x="874407" y="294670"/>
                        <a:pt x="877284" y="292535"/>
                      </a:cubicBezTo>
                      <a:cubicBezTo>
                        <a:pt x="884475" y="286844"/>
                        <a:pt x="885913" y="276884"/>
                        <a:pt x="880160" y="270482"/>
                      </a:cubicBezTo>
                      <a:cubicBezTo>
                        <a:pt x="829821" y="205032"/>
                        <a:pt x="877284" y="154522"/>
                        <a:pt x="879441" y="152388"/>
                      </a:cubicBezTo>
                      <a:cubicBezTo>
                        <a:pt x="885194" y="145985"/>
                        <a:pt x="885194" y="136025"/>
                        <a:pt x="878722" y="129622"/>
                      </a:cubicBezTo>
                      <a:cubicBezTo>
                        <a:pt x="875486" y="126777"/>
                        <a:pt x="871351" y="125354"/>
                        <a:pt x="867306" y="125443"/>
                      </a:cubicBezTo>
                      <a:close/>
                      <a:moveTo>
                        <a:pt x="1064232" y="92202"/>
                      </a:moveTo>
                      <a:cubicBezTo>
                        <a:pt x="1060166" y="92202"/>
                        <a:pt x="1056009" y="93811"/>
                        <a:pt x="1052756" y="97029"/>
                      </a:cubicBezTo>
                      <a:cubicBezTo>
                        <a:pt x="1046973" y="102750"/>
                        <a:pt x="1046250" y="112761"/>
                        <a:pt x="1052756" y="119197"/>
                      </a:cubicBezTo>
                      <a:cubicBezTo>
                        <a:pt x="1052756" y="119197"/>
                        <a:pt x="1072997" y="139219"/>
                        <a:pt x="1082394" y="172113"/>
                      </a:cubicBezTo>
                      <a:cubicBezTo>
                        <a:pt x="1096129" y="216449"/>
                        <a:pt x="1085286" y="260069"/>
                        <a:pt x="1051310" y="303690"/>
                      </a:cubicBezTo>
                      <a:cubicBezTo>
                        <a:pt x="1046250" y="310126"/>
                        <a:pt x="1046973" y="320137"/>
                        <a:pt x="1054202" y="325858"/>
                      </a:cubicBezTo>
                      <a:cubicBezTo>
                        <a:pt x="1057094" y="328003"/>
                        <a:pt x="1060708" y="328718"/>
                        <a:pt x="1064322" y="328718"/>
                      </a:cubicBezTo>
                      <a:cubicBezTo>
                        <a:pt x="1068660" y="328718"/>
                        <a:pt x="1073720" y="326573"/>
                        <a:pt x="1076611" y="322997"/>
                      </a:cubicBezTo>
                      <a:cubicBezTo>
                        <a:pt x="1127213" y="258639"/>
                        <a:pt x="1124322" y="200717"/>
                        <a:pt x="1113478" y="162817"/>
                      </a:cubicBezTo>
                      <a:cubicBezTo>
                        <a:pt x="1101189" y="122772"/>
                        <a:pt x="1076611" y="97744"/>
                        <a:pt x="1075166" y="97029"/>
                      </a:cubicBezTo>
                      <a:cubicBezTo>
                        <a:pt x="1072274" y="93811"/>
                        <a:pt x="1068298" y="92202"/>
                        <a:pt x="1064232" y="92202"/>
                      </a:cubicBezTo>
                      <a:close/>
                      <a:moveTo>
                        <a:pt x="832198" y="92202"/>
                      </a:moveTo>
                      <a:cubicBezTo>
                        <a:pt x="828188" y="92202"/>
                        <a:pt x="824088" y="93811"/>
                        <a:pt x="820879" y="97029"/>
                      </a:cubicBezTo>
                      <a:cubicBezTo>
                        <a:pt x="820166" y="97744"/>
                        <a:pt x="795923" y="122772"/>
                        <a:pt x="783801" y="162817"/>
                      </a:cubicBezTo>
                      <a:cubicBezTo>
                        <a:pt x="772393" y="200002"/>
                        <a:pt x="769540" y="256494"/>
                        <a:pt x="817314" y="320137"/>
                      </a:cubicBezTo>
                      <a:cubicBezTo>
                        <a:pt x="818027" y="320852"/>
                        <a:pt x="818740" y="321567"/>
                        <a:pt x="819453" y="322997"/>
                      </a:cubicBezTo>
                      <a:cubicBezTo>
                        <a:pt x="823018" y="326573"/>
                        <a:pt x="827296" y="328718"/>
                        <a:pt x="832287" y="328718"/>
                      </a:cubicBezTo>
                      <a:cubicBezTo>
                        <a:pt x="835853" y="328718"/>
                        <a:pt x="838705" y="328003"/>
                        <a:pt x="841557" y="325858"/>
                      </a:cubicBezTo>
                      <a:cubicBezTo>
                        <a:pt x="847261" y="321567"/>
                        <a:pt x="848687" y="315131"/>
                        <a:pt x="847261" y="308696"/>
                      </a:cubicBezTo>
                      <a:cubicBezTo>
                        <a:pt x="846548" y="307265"/>
                        <a:pt x="845835" y="305120"/>
                        <a:pt x="844409" y="303690"/>
                      </a:cubicBezTo>
                      <a:cubicBezTo>
                        <a:pt x="765262" y="202147"/>
                        <a:pt x="840131" y="122057"/>
                        <a:pt x="842983" y="119197"/>
                      </a:cubicBezTo>
                      <a:cubicBezTo>
                        <a:pt x="849400" y="112761"/>
                        <a:pt x="849400" y="102750"/>
                        <a:pt x="842983" y="97029"/>
                      </a:cubicBezTo>
                      <a:cubicBezTo>
                        <a:pt x="840131" y="93811"/>
                        <a:pt x="836209" y="92202"/>
                        <a:pt x="832198" y="92202"/>
                      </a:cubicBezTo>
                      <a:close/>
                      <a:moveTo>
                        <a:pt x="948141" y="0"/>
                      </a:moveTo>
                      <a:cubicBezTo>
                        <a:pt x="1002229" y="0"/>
                        <a:pt x="1056227" y="20533"/>
                        <a:pt x="1097351" y="61597"/>
                      </a:cubicBezTo>
                      <a:cubicBezTo>
                        <a:pt x="1179600" y="143726"/>
                        <a:pt x="1179600" y="277275"/>
                        <a:pt x="1097351" y="360119"/>
                      </a:cubicBezTo>
                      <a:cubicBezTo>
                        <a:pt x="1018679" y="438677"/>
                        <a:pt x="893517" y="442248"/>
                        <a:pt x="810553" y="370831"/>
                      </a:cubicBezTo>
                      <a:cubicBezTo>
                        <a:pt x="810553" y="370831"/>
                        <a:pt x="810553" y="370831"/>
                        <a:pt x="664651" y="516521"/>
                      </a:cubicBezTo>
                      <a:cubicBezTo>
                        <a:pt x="661790" y="519378"/>
                        <a:pt x="657499" y="520806"/>
                        <a:pt x="653923" y="520806"/>
                      </a:cubicBezTo>
                      <a:cubicBezTo>
                        <a:pt x="649632" y="520806"/>
                        <a:pt x="646056" y="519378"/>
                        <a:pt x="642480" y="516521"/>
                      </a:cubicBezTo>
                      <a:cubicBezTo>
                        <a:pt x="626030" y="500095"/>
                        <a:pt x="604574" y="490811"/>
                        <a:pt x="580972" y="490811"/>
                      </a:cubicBezTo>
                      <a:cubicBezTo>
                        <a:pt x="572389" y="490811"/>
                        <a:pt x="565237" y="483669"/>
                        <a:pt x="565237" y="475100"/>
                      </a:cubicBezTo>
                      <a:cubicBezTo>
                        <a:pt x="565237" y="466530"/>
                        <a:pt x="572389" y="459388"/>
                        <a:pt x="580972" y="459388"/>
                      </a:cubicBezTo>
                      <a:cubicBezTo>
                        <a:pt x="607434" y="459388"/>
                        <a:pt x="632467" y="467958"/>
                        <a:pt x="653208" y="483669"/>
                      </a:cubicBezTo>
                      <a:cubicBezTo>
                        <a:pt x="653208" y="483669"/>
                        <a:pt x="653208" y="483669"/>
                        <a:pt x="788382" y="348692"/>
                      </a:cubicBezTo>
                      <a:cubicBezTo>
                        <a:pt x="716146" y="265849"/>
                        <a:pt x="719722" y="140156"/>
                        <a:pt x="798395" y="61597"/>
                      </a:cubicBezTo>
                      <a:cubicBezTo>
                        <a:pt x="839877" y="20533"/>
                        <a:pt x="894054" y="0"/>
                        <a:pt x="94814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r" defTabSz="914400" rtl="1" eaLnBrk="1" latinLnBrk="0" hangingPunct="1"/>
                  <a:endParaRPr lang="ar-SA" dirty="0">
                    <a:latin typeface="DIN Next LT Arabic Light" panose="020B0303020203050203" pitchFamily="34" charset="-78"/>
                    <a:cs typeface="DIN Next LT Arabic Light" panose="020B0303020203050203" pitchFamily="34" charset="-78"/>
                    <a:sym typeface="DIN Next LT Arabic Light" panose="020B0303020203050203" pitchFamily="34" charset="-78"/>
                  </a:endParaRPr>
                </a:p>
              </p:txBody>
            </p:sp>
          </p:grp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7883F228-9CE7-6F48-B1D0-0DA8B5528DBF}"/>
                </a:ext>
              </a:extLst>
            </p:cNvPr>
            <p:cNvGrpSpPr/>
            <p:nvPr/>
          </p:nvGrpSpPr>
          <p:grpSpPr>
            <a:xfrm>
              <a:off x="98119" y="1111209"/>
              <a:ext cx="2570607" cy="4384744"/>
              <a:chOff x="298744" y="1468816"/>
              <a:chExt cx="2570607" cy="4384744"/>
            </a:xfrm>
          </p:grpSpPr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D6EE97B0-00E6-FD49-AA69-86E73E36D651}"/>
                  </a:ext>
                </a:extLst>
              </p:cNvPr>
              <p:cNvSpPr/>
              <p:nvPr/>
            </p:nvSpPr>
            <p:spPr>
              <a:xfrm>
                <a:off x="298744" y="1468816"/>
                <a:ext cx="2386546" cy="4384744"/>
              </a:xfrm>
              <a:prstGeom prst="rect">
                <a:avLst/>
              </a:prstGeom>
              <a:noFill/>
              <a:ln w="12700" cap="rnd">
                <a:solidFill>
                  <a:schemeClr val="tx2"/>
                </a:solidFill>
                <a:prstDash val="sys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r" defTabSz="914400" rtl="1" eaLnBrk="1" latinLnBrk="0" hangingPunct="1">
                  <a:lnSpc>
                    <a:spcPct val="90000"/>
                  </a:lnSpc>
                  <a:spcAft>
                    <a:spcPts val="1000"/>
                  </a:spcAft>
                </a:pPr>
                <a:endParaRPr lang="en-US" dirty="0">
                  <a:solidFill>
                    <a:schemeClr val="tx1"/>
                  </a:solidFill>
                  <a:sym typeface="+mn-lt"/>
                </a:endParaRPr>
              </a:p>
            </p:txBody>
          </p: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348C3C8C-54D3-8144-AE12-A18BA3B0BDDD}"/>
                  </a:ext>
                </a:extLst>
              </p:cNvPr>
              <p:cNvGrpSpPr/>
              <p:nvPr/>
            </p:nvGrpSpPr>
            <p:grpSpPr>
              <a:xfrm>
                <a:off x="2519733" y="3486379"/>
                <a:ext cx="349618" cy="349618"/>
                <a:chOff x="5126785" y="3772809"/>
                <a:chExt cx="184328" cy="184328"/>
              </a:xfrm>
            </p:grpSpPr>
            <p:sp>
              <p:nvSpPr>
                <p:cNvPr id="117" name="Oval 50">
                  <a:extLst>
                    <a:ext uri="{FF2B5EF4-FFF2-40B4-BE49-F238E27FC236}">
                      <a16:creationId xmlns:a16="http://schemas.microsoft.com/office/drawing/2014/main" id="{7D7BB989-A451-4E47-B7A5-158DD5AF44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26785" y="3772809"/>
                  <a:ext cx="184328" cy="184328"/>
                </a:xfrm>
                <a:prstGeom prst="ellipse">
                  <a:avLst/>
                </a:prstGeom>
                <a:solidFill>
                  <a:srgbClr val="3EA79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algn="r" defTabSz="914400" rtl="1" eaLnBrk="1" latinLnBrk="0" hangingPunct="1"/>
                  <a:endParaRPr lang="en-US" b="1" dirty="0"/>
                </a:p>
              </p:txBody>
            </p:sp>
            <p:sp>
              <p:nvSpPr>
                <p:cNvPr id="118" name="Freeform 51">
                  <a:extLst>
                    <a:ext uri="{FF2B5EF4-FFF2-40B4-BE49-F238E27FC236}">
                      <a16:creationId xmlns:a16="http://schemas.microsoft.com/office/drawing/2014/main" id="{BEED80FC-0FEA-B74E-AF7B-20043C2DEF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184972" y="3805337"/>
                  <a:ext cx="66141" cy="119271"/>
                </a:xfrm>
                <a:custGeom>
                  <a:avLst/>
                  <a:gdLst>
                    <a:gd name="T0" fmla="*/ 6 w 61"/>
                    <a:gd name="T1" fmla="*/ 0 h 110"/>
                    <a:gd name="T2" fmla="*/ 0 w 61"/>
                    <a:gd name="T3" fmla="*/ 7 h 110"/>
                    <a:gd name="T4" fmla="*/ 48 w 61"/>
                    <a:gd name="T5" fmla="*/ 55 h 110"/>
                    <a:gd name="T6" fmla="*/ 0 w 61"/>
                    <a:gd name="T7" fmla="*/ 104 h 110"/>
                    <a:gd name="T8" fmla="*/ 6 w 61"/>
                    <a:gd name="T9" fmla="*/ 110 h 110"/>
                    <a:gd name="T10" fmla="*/ 54 w 61"/>
                    <a:gd name="T11" fmla="*/ 62 h 110"/>
                    <a:gd name="T12" fmla="*/ 61 w 61"/>
                    <a:gd name="T13" fmla="*/ 55 h 110"/>
                    <a:gd name="T14" fmla="*/ 54 w 61"/>
                    <a:gd name="T15" fmla="*/ 49 h 110"/>
                    <a:gd name="T16" fmla="*/ 6 w 61"/>
                    <a:gd name="T17" fmla="*/ 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1" h="110">
                      <a:moveTo>
                        <a:pt x="6" y="0"/>
                      </a:moveTo>
                      <a:lnTo>
                        <a:pt x="0" y="7"/>
                      </a:lnTo>
                      <a:lnTo>
                        <a:pt x="48" y="55"/>
                      </a:lnTo>
                      <a:lnTo>
                        <a:pt x="0" y="104"/>
                      </a:lnTo>
                      <a:lnTo>
                        <a:pt x="6" y="110"/>
                      </a:lnTo>
                      <a:lnTo>
                        <a:pt x="54" y="62"/>
                      </a:lnTo>
                      <a:lnTo>
                        <a:pt x="61" y="55"/>
                      </a:lnTo>
                      <a:lnTo>
                        <a:pt x="54" y="49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algn="r" defTabSz="914400" rtl="1" eaLnBrk="1" latinLnBrk="0" hangingPunct="1"/>
                  <a:endParaRPr lang="en-US" b="1" dirty="0"/>
                </a:p>
              </p:txBody>
            </p:sp>
          </p:grp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9AD23AE3-6E6D-024F-8397-4B56000693C4}"/>
                  </a:ext>
                </a:extLst>
              </p:cNvPr>
              <p:cNvSpPr/>
              <p:nvPr/>
            </p:nvSpPr>
            <p:spPr>
              <a:xfrm>
                <a:off x="456681" y="2922524"/>
                <a:ext cx="2009029" cy="14773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Objectivity Light" pitchFamily="2" charset="77"/>
                  </a:rPr>
                  <a:t>Neural Network has the highest  score, which won the best classifier model!  </a:t>
                </a:r>
                <a:endParaRPr lang="ar-SA" dirty="0">
                  <a:solidFill>
                    <a:schemeClr val="tx2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</a:endParaRPr>
              </a:p>
            </p:txBody>
          </p:sp>
        </p:grpSp>
      </p:grp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E0A8F43-F230-0C48-8987-5B28EDD9A04F}"/>
              </a:ext>
            </a:extLst>
          </p:cNvPr>
          <p:cNvSpPr/>
          <p:nvPr/>
        </p:nvSpPr>
        <p:spPr>
          <a:xfrm flipH="1">
            <a:off x="1814537" y="1667791"/>
            <a:ext cx="1554570" cy="4384744"/>
          </a:xfrm>
          <a:prstGeom prst="rect">
            <a:avLst/>
          </a:prstGeom>
          <a:noFill/>
          <a:ln w="12700" cap="rnd">
            <a:solidFill>
              <a:schemeClr val="tx2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r" defTabSz="914400" rtl="1" eaLnBrk="1" latinLnBrk="0" hangingPunct="1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B38AEBE-967E-FB4E-A1AC-22785085C15B}"/>
              </a:ext>
            </a:extLst>
          </p:cNvPr>
          <p:cNvSpPr txBox="1"/>
          <p:nvPr/>
        </p:nvSpPr>
        <p:spPr>
          <a:xfrm>
            <a:off x="3408863" y="3026943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 Light" pitchFamily="2" charset="77"/>
              </a:rPr>
              <a:t>0.809</a:t>
            </a:r>
            <a:endParaRPr lang="ar-SA" dirty="0">
              <a:solidFill>
                <a:schemeClr val="tx2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531BCDC-430E-684E-9530-EE92554CF793}"/>
              </a:ext>
            </a:extLst>
          </p:cNvPr>
          <p:cNvSpPr txBox="1"/>
          <p:nvPr/>
        </p:nvSpPr>
        <p:spPr>
          <a:xfrm>
            <a:off x="4981881" y="3026943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34</a:t>
            </a:r>
            <a:endParaRPr lang="ar-SA" b="1" dirty="0">
              <a:solidFill>
                <a:schemeClr val="tx2"/>
              </a:solidFill>
              <a:latin typeface="Objectivity"/>
              <a:cs typeface="DIN Next LT Arabic Light" panose="020B0303020203050203" pitchFamily="34" charset="-78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DEF4679-D632-4AF6-9935-D447A4C75625}"/>
              </a:ext>
            </a:extLst>
          </p:cNvPr>
          <p:cNvSpPr txBox="1"/>
          <p:nvPr/>
        </p:nvSpPr>
        <p:spPr>
          <a:xfrm>
            <a:off x="1893071" y="5307509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37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AB15740-F8CF-4F0A-9F99-8D11DAE7777E}"/>
              </a:ext>
            </a:extLst>
          </p:cNvPr>
          <p:cNvSpPr/>
          <p:nvPr/>
        </p:nvSpPr>
        <p:spPr>
          <a:xfrm flipH="1">
            <a:off x="3372727" y="1667791"/>
            <a:ext cx="1554570" cy="4384744"/>
          </a:xfrm>
          <a:prstGeom prst="rect">
            <a:avLst/>
          </a:prstGeom>
          <a:noFill/>
          <a:ln w="12700" cap="rnd">
            <a:solidFill>
              <a:schemeClr val="tx2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r" defTabSz="914400" rtl="1" eaLnBrk="1" latinLnBrk="0" hangingPunct="1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8099417-5B71-4BED-9C31-8CA6BDE83EC1}"/>
              </a:ext>
            </a:extLst>
          </p:cNvPr>
          <p:cNvSpPr/>
          <p:nvPr/>
        </p:nvSpPr>
        <p:spPr>
          <a:xfrm flipH="1">
            <a:off x="4942750" y="1667791"/>
            <a:ext cx="1554570" cy="4384744"/>
          </a:xfrm>
          <a:prstGeom prst="rect">
            <a:avLst/>
          </a:prstGeom>
          <a:noFill/>
          <a:ln w="12700" cap="rnd">
            <a:solidFill>
              <a:schemeClr val="tx2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r" defTabSz="914400" rtl="1" eaLnBrk="1" latinLnBrk="0" hangingPunct="1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BEBF6EC-C03D-4AA8-B4D7-DA192F6736BC}"/>
              </a:ext>
            </a:extLst>
          </p:cNvPr>
          <p:cNvSpPr/>
          <p:nvPr/>
        </p:nvSpPr>
        <p:spPr>
          <a:xfrm flipH="1">
            <a:off x="6513292" y="1669676"/>
            <a:ext cx="1554570" cy="4384744"/>
          </a:xfrm>
          <a:prstGeom prst="rect">
            <a:avLst/>
          </a:prstGeom>
          <a:noFill/>
          <a:ln w="12700" cap="rnd">
            <a:solidFill>
              <a:schemeClr val="tx2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r" defTabSz="914400" rtl="1" eaLnBrk="1" latinLnBrk="0" hangingPunct="1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F0034611-7E80-4F86-AC77-DA9667C1086F}"/>
              </a:ext>
            </a:extLst>
          </p:cNvPr>
          <p:cNvSpPr/>
          <p:nvPr/>
        </p:nvSpPr>
        <p:spPr>
          <a:xfrm flipH="1">
            <a:off x="8094064" y="1667791"/>
            <a:ext cx="1554570" cy="4384744"/>
          </a:xfrm>
          <a:prstGeom prst="rect">
            <a:avLst/>
          </a:prstGeom>
          <a:noFill/>
          <a:ln w="12700" cap="rnd">
            <a:solidFill>
              <a:schemeClr val="tx2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r" defTabSz="914400" rtl="1" eaLnBrk="1" latinLnBrk="0" hangingPunct="1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BFFAA40E-F117-4B36-89F2-4C6F090AC96A}"/>
              </a:ext>
            </a:extLst>
          </p:cNvPr>
          <p:cNvSpPr txBox="1"/>
          <p:nvPr/>
        </p:nvSpPr>
        <p:spPr>
          <a:xfrm>
            <a:off x="3381346" y="5307509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37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27F79CE-EE95-435E-9D66-2BE5BBF83B04}"/>
              </a:ext>
            </a:extLst>
          </p:cNvPr>
          <p:cNvSpPr txBox="1"/>
          <p:nvPr/>
        </p:nvSpPr>
        <p:spPr>
          <a:xfrm>
            <a:off x="5052011" y="5308246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35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6FF18821-BDAC-4F9B-8B6C-6B458A76C886}"/>
              </a:ext>
            </a:extLst>
          </p:cNvPr>
          <p:cNvSpPr txBox="1"/>
          <p:nvPr/>
        </p:nvSpPr>
        <p:spPr>
          <a:xfrm>
            <a:off x="6512773" y="3042499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49</a:t>
            </a:r>
            <a:endParaRPr lang="ar-SA" b="1" dirty="0">
              <a:solidFill>
                <a:schemeClr val="tx2"/>
              </a:solidFill>
              <a:latin typeface="Objectivity"/>
              <a:cs typeface="DIN Next LT Arabic Light" panose="020B0303020203050203" pitchFamily="34" charset="-78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FF0277B8-708C-4ED8-A641-E01DCC789D39}"/>
              </a:ext>
            </a:extLst>
          </p:cNvPr>
          <p:cNvSpPr txBox="1"/>
          <p:nvPr/>
        </p:nvSpPr>
        <p:spPr>
          <a:xfrm>
            <a:off x="6520521" y="4146787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60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752A7221-2479-45DE-B687-41B400BC9871}"/>
              </a:ext>
            </a:extLst>
          </p:cNvPr>
          <p:cNvSpPr txBox="1"/>
          <p:nvPr/>
        </p:nvSpPr>
        <p:spPr>
          <a:xfrm>
            <a:off x="6529135" y="5297344"/>
            <a:ext cx="1367863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42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9A1D2EA6-03F2-47C7-945B-260F557D662E}"/>
              </a:ext>
            </a:extLst>
          </p:cNvPr>
          <p:cNvSpPr txBox="1"/>
          <p:nvPr/>
        </p:nvSpPr>
        <p:spPr>
          <a:xfrm>
            <a:off x="8067862" y="3009980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5</a:t>
            </a:r>
            <a:endParaRPr lang="ar-SA" b="1" dirty="0">
              <a:solidFill>
                <a:schemeClr val="tx2"/>
              </a:solidFill>
              <a:latin typeface="Objectivity"/>
              <a:cs typeface="DIN Next LT Arabic Light" panose="020B0303020203050203" pitchFamily="34" charset="-78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D79EF016-BFFB-45F4-A1FD-6EE9AD7117D3}"/>
              </a:ext>
            </a:extLst>
          </p:cNvPr>
          <p:cNvSpPr txBox="1"/>
          <p:nvPr/>
        </p:nvSpPr>
        <p:spPr>
          <a:xfrm>
            <a:off x="8091063" y="4149715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6</a:t>
            </a:r>
            <a:endParaRPr lang="ar-SA" b="1" dirty="0">
              <a:solidFill>
                <a:schemeClr val="tx2"/>
              </a:solidFill>
              <a:latin typeface="Objectivity"/>
              <a:cs typeface="DIN Next LT Arabic Light" panose="020B0303020203050203" pitchFamily="34" charset="-78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BD9D8E95-DFFC-46AB-BAED-5C564160C243}"/>
              </a:ext>
            </a:extLst>
          </p:cNvPr>
          <p:cNvSpPr txBox="1"/>
          <p:nvPr/>
        </p:nvSpPr>
        <p:spPr>
          <a:xfrm>
            <a:off x="8101330" y="5306834"/>
            <a:ext cx="1367861" cy="65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Objectivity"/>
                <a:cs typeface="DIN Next LT Arabic Light" panose="020B0303020203050203" pitchFamily="34" charset="-78"/>
              </a:rPr>
              <a:t>0.86</a:t>
            </a:r>
            <a:endParaRPr lang="ar-SA" b="1" dirty="0">
              <a:solidFill>
                <a:schemeClr val="tx2"/>
              </a:solidFill>
              <a:latin typeface="Objectivity"/>
              <a:cs typeface="DIN Next LT Arabic Light" panose="020B0303020203050203" pitchFamily="34" charset="-78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AA9E20CF-7F95-4811-9D3C-1F5E3C473978}"/>
              </a:ext>
            </a:extLst>
          </p:cNvPr>
          <p:cNvCxnSpPr/>
          <p:nvPr/>
        </p:nvCxnSpPr>
        <p:spPr>
          <a:xfrm>
            <a:off x="1906053" y="2805212"/>
            <a:ext cx="76803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8" name="Graphic 137">
            <a:extLst>
              <a:ext uri="{FF2B5EF4-FFF2-40B4-BE49-F238E27FC236}">
                <a16:creationId xmlns:a16="http://schemas.microsoft.com/office/drawing/2014/main" id="{269869AE-ED96-489E-8D74-3813ABF93E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56236" y="1838921"/>
            <a:ext cx="399823" cy="399823"/>
          </a:xfrm>
          <a:prstGeom prst="rect">
            <a:avLst/>
          </a:prstGeom>
        </p:spPr>
      </p:pic>
      <p:pic>
        <p:nvPicPr>
          <p:cNvPr id="139" name="Graphic 138">
            <a:extLst>
              <a:ext uri="{FF2B5EF4-FFF2-40B4-BE49-F238E27FC236}">
                <a16:creationId xmlns:a16="http://schemas.microsoft.com/office/drawing/2014/main" id="{6E4F7EF1-0579-424B-9E35-D0A8A17AFC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39260" y="1833906"/>
            <a:ext cx="327600" cy="327600"/>
          </a:xfrm>
          <a:prstGeom prst="rect">
            <a:avLst/>
          </a:prstGeom>
        </p:spPr>
      </p:pic>
      <p:pic>
        <p:nvPicPr>
          <p:cNvPr id="140" name="Graphic 139">
            <a:extLst>
              <a:ext uri="{FF2B5EF4-FFF2-40B4-BE49-F238E27FC236}">
                <a16:creationId xmlns:a16="http://schemas.microsoft.com/office/drawing/2014/main" id="{C9669086-935E-4152-9E38-16E02F2C9B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44879" y="1868607"/>
            <a:ext cx="327600" cy="327600"/>
          </a:xfrm>
          <a:prstGeom prst="rect">
            <a:avLst/>
          </a:prstGeom>
        </p:spPr>
      </p:pic>
      <p:pic>
        <p:nvPicPr>
          <p:cNvPr id="141" name="Graphic 140">
            <a:extLst>
              <a:ext uri="{FF2B5EF4-FFF2-40B4-BE49-F238E27FC236}">
                <a16:creationId xmlns:a16="http://schemas.microsoft.com/office/drawing/2014/main" id="{208CF17A-FFB0-4648-9729-8407C5EA2E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68214" y="3177083"/>
            <a:ext cx="32760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9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959D3-9922-4AD2-A700-D263E02F1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Neural Network Model </a:t>
            </a:r>
            <a:endParaRPr lang="ar-SA" sz="3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442222-8354-4ED6-B92E-FA2441C5EE51}"/>
              </a:ext>
            </a:extLst>
          </p:cNvPr>
          <p:cNvSpPr txBox="1"/>
          <p:nvPr/>
        </p:nvSpPr>
        <p:spPr>
          <a:xfrm>
            <a:off x="226031" y="2059969"/>
            <a:ext cx="6308333" cy="21795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8C8C8C"/>
                </a:solidFill>
                <a:latin typeface="Objectivity"/>
              </a:rPr>
              <a:t>We use two Layers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8C8C8C"/>
                </a:solidFill>
                <a:latin typeface="Objectivity"/>
              </a:rPr>
              <a:t>Activation function for the first layer was </a:t>
            </a:r>
            <a:r>
              <a:rPr lang="en-US" sz="2000" dirty="0" err="1">
                <a:solidFill>
                  <a:srgbClr val="8C8C8C"/>
                </a:solidFill>
                <a:latin typeface="Objectivity"/>
              </a:rPr>
              <a:t>Relu</a:t>
            </a:r>
            <a:r>
              <a:rPr lang="en-US" sz="2000" dirty="0">
                <a:solidFill>
                  <a:srgbClr val="8C8C8C"/>
                </a:solidFill>
                <a:latin typeface="Objectivity"/>
              </a:rPr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8C8C8C"/>
                </a:solidFill>
                <a:latin typeface="Objectivity"/>
              </a:rPr>
              <a:t>Activation function for the second layer was Sigmoid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8C8C8C"/>
                </a:solidFill>
                <a:latin typeface="Objectivity"/>
              </a:rPr>
              <a:t>Early stopping function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8C8C8C"/>
                </a:solidFill>
                <a:latin typeface="Objectivity"/>
              </a:rPr>
              <a:t>Validation performance has achieved the highest score. </a:t>
            </a:r>
          </a:p>
          <a:p>
            <a:pPr marL="285750" indent="-285750" algn="ctr">
              <a:buFont typeface="Courier New" panose="02070309020205020404" pitchFamily="49" charset="0"/>
              <a:buChar char="o"/>
            </a:pPr>
            <a:endParaRPr lang="ar-SA" dirty="0" err="1">
              <a:solidFill>
                <a:srgbClr val="8C8C8C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9C1523-A8F2-4C61-86D8-81A288B8F3E7}"/>
              </a:ext>
            </a:extLst>
          </p:cNvPr>
          <p:cNvSpPr txBox="1"/>
          <p:nvPr/>
        </p:nvSpPr>
        <p:spPr>
          <a:xfrm>
            <a:off x="750011" y="1700373"/>
            <a:ext cx="2157573" cy="3595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u="sng" dirty="0">
                <a:solidFill>
                  <a:srgbClr val="3EA798"/>
                </a:solidFill>
                <a:latin typeface="Objectivity"/>
              </a:rPr>
              <a:t>Model Summary </a:t>
            </a:r>
            <a:endParaRPr lang="ar-SA" sz="2000" b="1" u="sng" dirty="0" err="1">
              <a:solidFill>
                <a:srgbClr val="3EA798"/>
              </a:solidFill>
              <a:latin typeface="Objectivity"/>
            </a:endParaRPr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A05B8F23-507E-45E1-958E-2425D3F86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9923" y="1582222"/>
            <a:ext cx="5511189" cy="39271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B0152BD-76D6-45DD-BB06-D8D470F662A8}"/>
              </a:ext>
            </a:extLst>
          </p:cNvPr>
          <p:cNvSpPr txBox="1"/>
          <p:nvPr/>
        </p:nvSpPr>
        <p:spPr>
          <a:xfrm>
            <a:off x="6935055" y="5610871"/>
            <a:ext cx="4785512" cy="6795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8C8C8C"/>
                </a:solidFill>
              </a:rPr>
              <a:t>Neural network Model’s training and validation rate </a:t>
            </a:r>
            <a:endParaRPr lang="ar-SA" dirty="0" err="1">
              <a:solidFill>
                <a:srgbClr val="8C8C8C"/>
              </a:solidFill>
            </a:endParaRPr>
          </a:p>
        </p:txBody>
      </p:sp>
      <p:grpSp>
        <p:nvGrpSpPr>
          <p:cNvPr id="8" name="Group">
            <a:extLst>
              <a:ext uri="{FF2B5EF4-FFF2-40B4-BE49-F238E27FC236}">
                <a16:creationId xmlns:a16="http://schemas.microsoft.com/office/drawing/2014/main" id="{4E11B41F-0AFD-40FF-9930-9787B22808CD}"/>
              </a:ext>
            </a:extLst>
          </p:cNvPr>
          <p:cNvGrpSpPr/>
          <p:nvPr/>
        </p:nvGrpSpPr>
        <p:grpSpPr>
          <a:xfrm>
            <a:off x="259872" y="1602770"/>
            <a:ext cx="528214" cy="535289"/>
            <a:chOff x="0" y="0"/>
            <a:chExt cx="1056426" cy="1070576"/>
          </a:xfrm>
          <a:solidFill>
            <a:schemeClr val="tx2"/>
          </a:solidFill>
        </p:grpSpPr>
        <p:sp>
          <p:nvSpPr>
            <p:cNvPr id="9" name="Shape">
              <a:extLst>
                <a:ext uri="{FF2B5EF4-FFF2-40B4-BE49-F238E27FC236}">
                  <a16:creationId xmlns:a16="http://schemas.microsoft.com/office/drawing/2014/main" id="{9A4EDEC0-FDEE-47FB-8B87-C3D51D5C3B53}"/>
                </a:ext>
              </a:extLst>
            </p:cNvPr>
            <p:cNvSpPr/>
            <p:nvPr/>
          </p:nvSpPr>
          <p:spPr>
            <a:xfrm>
              <a:off x="0" y="-1"/>
              <a:ext cx="1056427" cy="1070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52" y="0"/>
                  </a:moveTo>
                  <a:cubicBezTo>
                    <a:pt x="4780" y="0"/>
                    <a:pt x="4780" y="0"/>
                    <a:pt x="4780" y="0"/>
                  </a:cubicBezTo>
                  <a:cubicBezTo>
                    <a:pt x="3541" y="0"/>
                    <a:pt x="2656" y="878"/>
                    <a:pt x="2656" y="2107"/>
                  </a:cubicBezTo>
                  <a:cubicBezTo>
                    <a:pt x="2656" y="3337"/>
                    <a:pt x="2656" y="3337"/>
                    <a:pt x="2656" y="3337"/>
                  </a:cubicBezTo>
                  <a:cubicBezTo>
                    <a:pt x="1948" y="3337"/>
                    <a:pt x="1948" y="3337"/>
                    <a:pt x="1948" y="3337"/>
                  </a:cubicBezTo>
                  <a:cubicBezTo>
                    <a:pt x="885" y="3337"/>
                    <a:pt x="0" y="4215"/>
                    <a:pt x="0" y="5444"/>
                  </a:cubicBezTo>
                  <a:cubicBezTo>
                    <a:pt x="0" y="18790"/>
                    <a:pt x="0" y="18790"/>
                    <a:pt x="0" y="18790"/>
                  </a:cubicBezTo>
                  <a:cubicBezTo>
                    <a:pt x="0" y="20371"/>
                    <a:pt x="1239" y="21600"/>
                    <a:pt x="2656" y="21600"/>
                  </a:cubicBezTo>
                  <a:cubicBezTo>
                    <a:pt x="18944" y="21600"/>
                    <a:pt x="18944" y="21600"/>
                    <a:pt x="18944" y="21600"/>
                  </a:cubicBezTo>
                  <a:cubicBezTo>
                    <a:pt x="20538" y="21600"/>
                    <a:pt x="21600" y="20371"/>
                    <a:pt x="21600" y="18790"/>
                  </a:cubicBezTo>
                  <a:cubicBezTo>
                    <a:pt x="21600" y="2107"/>
                    <a:pt x="21600" y="2107"/>
                    <a:pt x="21600" y="2107"/>
                  </a:cubicBezTo>
                  <a:cubicBezTo>
                    <a:pt x="21600" y="878"/>
                    <a:pt x="20715" y="0"/>
                    <a:pt x="19652" y="0"/>
                  </a:cubicBezTo>
                  <a:close/>
                  <a:moveTo>
                    <a:pt x="20361" y="18790"/>
                  </a:moveTo>
                  <a:cubicBezTo>
                    <a:pt x="20361" y="19668"/>
                    <a:pt x="19652" y="20195"/>
                    <a:pt x="18944" y="20195"/>
                  </a:cubicBezTo>
                  <a:cubicBezTo>
                    <a:pt x="2656" y="20195"/>
                    <a:pt x="2656" y="20195"/>
                    <a:pt x="2656" y="20195"/>
                  </a:cubicBezTo>
                  <a:cubicBezTo>
                    <a:pt x="1948" y="20195"/>
                    <a:pt x="1239" y="19668"/>
                    <a:pt x="1239" y="18790"/>
                  </a:cubicBezTo>
                  <a:cubicBezTo>
                    <a:pt x="1239" y="5444"/>
                    <a:pt x="1239" y="5444"/>
                    <a:pt x="1239" y="5444"/>
                  </a:cubicBezTo>
                  <a:cubicBezTo>
                    <a:pt x="1239" y="5093"/>
                    <a:pt x="1593" y="4741"/>
                    <a:pt x="1948" y="4741"/>
                  </a:cubicBezTo>
                  <a:cubicBezTo>
                    <a:pt x="2656" y="4741"/>
                    <a:pt x="2656" y="4741"/>
                    <a:pt x="2656" y="4741"/>
                  </a:cubicBezTo>
                  <a:cubicBezTo>
                    <a:pt x="2656" y="18263"/>
                    <a:pt x="2656" y="18263"/>
                    <a:pt x="2656" y="18263"/>
                  </a:cubicBezTo>
                  <a:cubicBezTo>
                    <a:pt x="2656" y="18615"/>
                    <a:pt x="3010" y="18790"/>
                    <a:pt x="3364" y="18790"/>
                  </a:cubicBezTo>
                  <a:cubicBezTo>
                    <a:pt x="3718" y="18790"/>
                    <a:pt x="4072" y="18615"/>
                    <a:pt x="4072" y="18263"/>
                  </a:cubicBezTo>
                  <a:cubicBezTo>
                    <a:pt x="4072" y="2107"/>
                    <a:pt x="4072" y="2107"/>
                    <a:pt x="4072" y="2107"/>
                  </a:cubicBezTo>
                  <a:cubicBezTo>
                    <a:pt x="4072" y="1580"/>
                    <a:pt x="4249" y="1405"/>
                    <a:pt x="4780" y="1405"/>
                  </a:cubicBezTo>
                  <a:cubicBezTo>
                    <a:pt x="19652" y="1405"/>
                    <a:pt x="19652" y="1405"/>
                    <a:pt x="19652" y="1405"/>
                  </a:cubicBezTo>
                  <a:cubicBezTo>
                    <a:pt x="20007" y="1405"/>
                    <a:pt x="20361" y="1580"/>
                    <a:pt x="20361" y="2107"/>
                  </a:cubicBezTo>
                  <a:lnTo>
                    <a:pt x="20361" y="18790"/>
                  </a:lnTo>
                  <a:close/>
                  <a:moveTo>
                    <a:pt x="20361" y="18790"/>
                  </a:moveTo>
                  <a:cubicBezTo>
                    <a:pt x="20361" y="18790"/>
                    <a:pt x="20361" y="18790"/>
                    <a:pt x="20361" y="1879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0" name="Shape">
              <a:extLst>
                <a:ext uri="{FF2B5EF4-FFF2-40B4-BE49-F238E27FC236}">
                  <a16:creationId xmlns:a16="http://schemas.microsoft.com/office/drawing/2014/main" id="{7F125702-BFF3-4576-A9A2-3D28DDEE2B33}"/>
                </a:ext>
              </a:extLst>
            </p:cNvPr>
            <p:cNvSpPr/>
            <p:nvPr/>
          </p:nvSpPr>
          <p:spPr>
            <a:xfrm>
              <a:off x="631969" y="400451"/>
              <a:ext cx="297123" cy="338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5" y="21600"/>
                  </a:moveTo>
                  <a:cubicBezTo>
                    <a:pt x="20329" y="21600"/>
                    <a:pt x="20329" y="21600"/>
                    <a:pt x="20329" y="21600"/>
                  </a:cubicBezTo>
                  <a:cubicBezTo>
                    <a:pt x="20965" y="21600"/>
                    <a:pt x="21600" y="16200"/>
                    <a:pt x="21600" y="10800"/>
                  </a:cubicBezTo>
                  <a:cubicBezTo>
                    <a:pt x="21600" y="5400"/>
                    <a:pt x="20965" y="0"/>
                    <a:pt x="20329" y="0"/>
                  </a:cubicBezTo>
                  <a:cubicBezTo>
                    <a:pt x="635" y="0"/>
                    <a:pt x="635" y="0"/>
                    <a:pt x="635" y="0"/>
                  </a:cubicBezTo>
                  <a:cubicBezTo>
                    <a:pt x="0" y="0"/>
                    <a:pt x="0" y="5400"/>
                    <a:pt x="0" y="10800"/>
                  </a:cubicBezTo>
                  <a:cubicBezTo>
                    <a:pt x="0" y="16200"/>
                    <a:pt x="0" y="21600"/>
                    <a:pt x="635" y="21600"/>
                  </a:cubicBezTo>
                  <a:close/>
                  <a:moveTo>
                    <a:pt x="635" y="21600"/>
                  </a:moveTo>
                  <a:cubicBezTo>
                    <a:pt x="635" y="21600"/>
                    <a:pt x="635" y="21600"/>
                    <a:pt x="635" y="2160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Shape">
              <a:extLst>
                <a:ext uri="{FF2B5EF4-FFF2-40B4-BE49-F238E27FC236}">
                  <a16:creationId xmlns:a16="http://schemas.microsoft.com/office/drawing/2014/main" id="{C943DE0B-76C4-4757-BB7D-BFB7E317AD2F}"/>
                </a:ext>
              </a:extLst>
            </p:cNvPr>
            <p:cNvSpPr/>
            <p:nvPr/>
          </p:nvSpPr>
          <p:spPr>
            <a:xfrm>
              <a:off x="631969" y="301411"/>
              <a:ext cx="297123" cy="338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5" y="21600"/>
                  </a:moveTo>
                  <a:cubicBezTo>
                    <a:pt x="20329" y="21600"/>
                    <a:pt x="20329" y="21600"/>
                    <a:pt x="20329" y="21600"/>
                  </a:cubicBezTo>
                  <a:cubicBezTo>
                    <a:pt x="20965" y="21600"/>
                    <a:pt x="21600" y="21600"/>
                    <a:pt x="21600" y="14400"/>
                  </a:cubicBezTo>
                  <a:cubicBezTo>
                    <a:pt x="21600" y="7200"/>
                    <a:pt x="20965" y="0"/>
                    <a:pt x="20329" y="0"/>
                  </a:cubicBezTo>
                  <a:cubicBezTo>
                    <a:pt x="635" y="0"/>
                    <a:pt x="635" y="0"/>
                    <a:pt x="635" y="0"/>
                  </a:cubicBezTo>
                  <a:cubicBezTo>
                    <a:pt x="0" y="0"/>
                    <a:pt x="0" y="7200"/>
                    <a:pt x="0" y="14400"/>
                  </a:cubicBezTo>
                  <a:cubicBezTo>
                    <a:pt x="0" y="21600"/>
                    <a:pt x="0" y="21600"/>
                    <a:pt x="635" y="21600"/>
                  </a:cubicBezTo>
                  <a:close/>
                  <a:moveTo>
                    <a:pt x="635" y="21600"/>
                  </a:moveTo>
                  <a:cubicBezTo>
                    <a:pt x="635" y="21600"/>
                    <a:pt x="635" y="21600"/>
                    <a:pt x="635" y="2160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Shape">
              <a:extLst>
                <a:ext uri="{FF2B5EF4-FFF2-40B4-BE49-F238E27FC236}">
                  <a16:creationId xmlns:a16="http://schemas.microsoft.com/office/drawing/2014/main" id="{F63DE92A-4AB4-4836-ABB2-5BF26CF4EE9F}"/>
                </a:ext>
              </a:extLst>
            </p:cNvPr>
            <p:cNvSpPr/>
            <p:nvPr/>
          </p:nvSpPr>
          <p:spPr>
            <a:xfrm>
              <a:off x="631969" y="198079"/>
              <a:ext cx="297123" cy="3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5" y="21600"/>
                  </a:moveTo>
                  <a:cubicBezTo>
                    <a:pt x="20329" y="21600"/>
                    <a:pt x="20329" y="21600"/>
                    <a:pt x="20329" y="21600"/>
                  </a:cubicBezTo>
                  <a:cubicBezTo>
                    <a:pt x="20965" y="21600"/>
                    <a:pt x="21600" y="16200"/>
                    <a:pt x="21600" y="10800"/>
                  </a:cubicBezTo>
                  <a:cubicBezTo>
                    <a:pt x="21600" y="5400"/>
                    <a:pt x="20965" y="0"/>
                    <a:pt x="20329" y="0"/>
                  </a:cubicBezTo>
                  <a:cubicBezTo>
                    <a:pt x="635" y="0"/>
                    <a:pt x="635" y="0"/>
                    <a:pt x="635" y="0"/>
                  </a:cubicBezTo>
                  <a:cubicBezTo>
                    <a:pt x="0" y="0"/>
                    <a:pt x="0" y="5400"/>
                    <a:pt x="0" y="10800"/>
                  </a:cubicBezTo>
                  <a:cubicBezTo>
                    <a:pt x="0" y="16200"/>
                    <a:pt x="0" y="21600"/>
                    <a:pt x="635" y="21600"/>
                  </a:cubicBezTo>
                  <a:close/>
                  <a:moveTo>
                    <a:pt x="635" y="21600"/>
                  </a:moveTo>
                  <a:cubicBezTo>
                    <a:pt x="635" y="21600"/>
                    <a:pt x="635" y="21600"/>
                    <a:pt x="635" y="2160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Shape">
              <a:extLst>
                <a:ext uri="{FF2B5EF4-FFF2-40B4-BE49-F238E27FC236}">
                  <a16:creationId xmlns:a16="http://schemas.microsoft.com/office/drawing/2014/main" id="{050583EF-0AFF-4FF4-BCC3-F2648D176CBC}"/>
                </a:ext>
              </a:extLst>
            </p:cNvPr>
            <p:cNvSpPr/>
            <p:nvPr/>
          </p:nvSpPr>
          <p:spPr>
            <a:xfrm>
              <a:off x="259388" y="905082"/>
              <a:ext cx="301838" cy="338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66" y="0"/>
                  </a:moveTo>
                  <a:cubicBezTo>
                    <a:pt x="1234" y="0"/>
                    <a:pt x="1234" y="0"/>
                    <a:pt x="1234" y="0"/>
                  </a:cubicBezTo>
                  <a:cubicBezTo>
                    <a:pt x="617" y="0"/>
                    <a:pt x="0" y="5400"/>
                    <a:pt x="0" y="10800"/>
                  </a:cubicBezTo>
                  <a:cubicBezTo>
                    <a:pt x="0" y="16200"/>
                    <a:pt x="617" y="21600"/>
                    <a:pt x="1234" y="21600"/>
                  </a:cubicBezTo>
                  <a:cubicBezTo>
                    <a:pt x="20366" y="21600"/>
                    <a:pt x="20366" y="21600"/>
                    <a:pt x="20366" y="21600"/>
                  </a:cubicBezTo>
                  <a:cubicBezTo>
                    <a:pt x="20983" y="21600"/>
                    <a:pt x="21600" y="16200"/>
                    <a:pt x="21600" y="10800"/>
                  </a:cubicBezTo>
                  <a:cubicBezTo>
                    <a:pt x="21600" y="5400"/>
                    <a:pt x="20983" y="0"/>
                    <a:pt x="20366" y="0"/>
                  </a:cubicBezTo>
                  <a:close/>
                  <a:moveTo>
                    <a:pt x="20366" y="0"/>
                  </a:moveTo>
                  <a:cubicBezTo>
                    <a:pt x="20366" y="0"/>
                    <a:pt x="20366" y="0"/>
                    <a:pt x="20366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073B4FCA-ABEF-4D43-BEF4-750240A11C94}"/>
                </a:ext>
              </a:extLst>
            </p:cNvPr>
            <p:cNvSpPr/>
            <p:nvPr/>
          </p:nvSpPr>
          <p:spPr>
            <a:xfrm>
              <a:off x="259388" y="801325"/>
              <a:ext cx="301838" cy="338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66" y="0"/>
                  </a:moveTo>
                  <a:cubicBezTo>
                    <a:pt x="1234" y="0"/>
                    <a:pt x="1234" y="0"/>
                    <a:pt x="1234" y="0"/>
                  </a:cubicBezTo>
                  <a:cubicBezTo>
                    <a:pt x="617" y="0"/>
                    <a:pt x="0" y="5400"/>
                    <a:pt x="0" y="10800"/>
                  </a:cubicBezTo>
                  <a:cubicBezTo>
                    <a:pt x="0" y="16200"/>
                    <a:pt x="617" y="21600"/>
                    <a:pt x="1234" y="21600"/>
                  </a:cubicBezTo>
                  <a:cubicBezTo>
                    <a:pt x="20366" y="21600"/>
                    <a:pt x="20366" y="21600"/>
                    <a:pt x="20366" y="21600"/>
                  </a:cubicBezTo>
                  <a:cubicBezTo>
                    <a:pt x="20983" y="21600"/>
                    <a:pt x="21600" y="16200"/>
                    <a:pt x="21600" y="10800"/>
                  </a:cubicBezTo>
                  <a:cubicBezTo>
                    <a:pt x="21600" y="5400"/>
                    <a:pt x="20983" y="0"/>
                    <a:pt x="20366" y="0"/>
                  </a:cubicBezTo>
                  <a:close/>
                  <a:moveTo>
                    <a:pt x="20366" y="0"/>
                  </a:moveTo>
                  <a:cubicBezTo>
                    <a:pt x="20366" y="0"/>
                    <a:pt x="20366" y="0"/>
                    <a:pt x="20366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E04D7437-BF9C-4094-8C53-6878C41646EF}"/>
                </a:ext>
              </a:extLst>
            </p:cNvPr>
            <p:cNvSpPr/>
            <p:nvPr/>
          </p:nvSpPr>
          <p:spPr>
            <a:xfrm>
              <a:off x="259388" y="707002"/>
              <a:ext cx="301838" cy="338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66" y="0"/>
                  </a:moveTo>
                  <a:cubicBezTo>
                    <a:pt x="1234" y="0"/>
                    <a:pt x="1234" y="0"/>
                    <a:pt x="1234" y="0"/>
                  </a:cubicBezTo>
                  <a:cubicBezTo>
                    <a:pt x="617" y="0"/>
                    <a:pt x="0" y="5400"/>
                    <a:pt x="0" y="10800"/>
                  </a:cubicBezTo>
                  <a:cubicBezTo>
                    <a:pt x="0" y="16200"/>
                    <a:pt x="617" y="21600"/>
                    <a:pt x="1234" y="21600"/>
                  </a:cubicBezTo>
                  <a:cubicBezTo>
                    <a:pt x="20366" y="21600"/>
                    <a:pt x="20366" y="21600"/>
                    <a:pt x="20366" y="21600"/>
                  </a:cubicBezTo>
                  <a:cubicBezTo>
                    <a:pt x="20983" y="21600"/>
                    <a:pt x="21600" y="16200"/>
                    <a:pt x="21600" y="10800"/>
                  </a:cubicBezTo>
                  <a:cubicBezTo>
                    <a:pt x="21600" y="5400"/>
                    <a:pt x="20983" y="0"/>
                    <a:pt x="20366" y="0"/>
                  </a:cubicBezTo>
                  <a:close/>
                  <a:moveTo>
                    <a:pt x="20366" y="0"/>
                  </a:moveTo>
                  <a:cubicBezTo>
                    <a:pt x="20366" y="0"/>
                    <a:pt x="20366" y="0"/>
                    <a:pt x="20366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A3918865-3DCA-4D14-BF0C-33AF128E5F6D}"/>
                </a:ext>
              </a:extLst>
            </p:cNvPr>
            <p:cNvSpPr/>
            <p:nvPr/>
          </p:nvSpPr>
          <p:spPr>
            <a:xfrm>
              <a:off x="631969" y="905082"/>
              <a:ext cx="297123" cy="338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29" y="0"/>
                  </a:moveTo>
                  <a:cubicBezTo>
                    <a:pt x="635" y="0"/>
                    <a:pt x="635" y="0"/>
                    <a:pt x="635" y="0"/>
                  </a:cubicBezTo>
                  <a:cubicBezTo>
                    <a:pt x="0" y="0"/>
                    <a:pt x="0" y="5400"/>
                    <a:pt x="0" y="10800"/>
                  </a:cubicBezTo>
                  <a:cubicBezTo>
                    <a:pt x="0" y="16200"/>
                    <a:pt x="0" y="21600"/>
                    <a:pt x="635" y="21600"/>
                  </a:cubicBezTo>
                  <a:cubicBezTo>
                    <a:pt x="20329" y="21600"/>
                    <a:pt x="20329" y="21600"/>
                    <a:pt x="20329" y="21600"/>
                  </a:cubicBezTo>
                  <a:cubicBezTo>
                    <a:pt x="20965" y="21600"/>
                    <a:pt x="21600" y="16200"/>
                    <a:pt x="21600" y="10800"/>
                  </a:cubicBezTo>
                  <a:cubicBezTo>
                    <a:pt x="21600" y="5400"/>
                    <a:pt x="20965" y="0"/>
                    <a:pt x="20329" y="0"/>
                  </a:cubicBezTo>
                  <a:close/>
                  <a:moveTo>
                    <a:pt x="20329" y="0"/>
                  </a:moveTo>
                  <a:cubicBezTo>
                    <a:pt x="20329" y="0"/>
                    <a:pt x="20329" y="0"/>
                    <a:pt x="20329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53CB256F-2922-4302-9D0E-7F71EA0C608C}"/>
                </a:ext>
              </a:extLst>
            </p:cNvPr>
            <p:cNvSpPr/>
            <p:nvPr/>
          </p:nvSpPr>
          <p:spPr>
            <a:xfrm>
              <a:off x="631969" y="801325"/>
              <a:ext cx="297123" cy="338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29" y="0"/>
                  </a:moveTo>
                  <a:cubicBezTo>
                    <a:pt x="635" y="0"/>
                    <a:pt x="635" y="0"/>
                    <a:pt x="635" y="0"/>
                  </a:cubicBezTo>
                  <a:cubicBezTo>
                    <a:pt x="0" y="0"/>
                    <a:pt x="0" y="5400"/>
                    <a:pt x="0" y="10800"/>
                  </a:cubicBezTo>
                  <a:cubicBezTo>
                    <a:pt x="0" y="16200"/>
                    <a:pt x="0" y="21600"/>
                    <a:pt x="635" y="21600"/>
                  </a:cubicBezTo>
                  <a:cubicBezTo>
                    <a:pt x="20329" y="21600"/>
                    <a:pt x="20329" y="21600"/>
                    <a:pt x="20329" y="21600"/>
                  </a:cubicBezTo>
                  <a:cubicBezTo>
                    <a:pt x="20965" y="21600"/>
                    <a:pt x="21600" y="16200"/>
                    <a:pt x="21600" y="10800"/>
                  </a:cubicBezTo>
                  <a:cubicBezTo>
                    <a:pt x="21600" y="5400"/>
                    <a:pt x="20965" y="0"/>
                    <a:pt x="20329" y="0"/>
                  </a:cubicBezTo>
                  <a:close/>
                  <a:moveTo>
                    <a:pt x="20329" y="0"/>
                  </a:moveTo>
                  <a:cubicBezTo>
                    <a:pt x="20329" y="0"/>
                    <a:pt x="20329" y="0"/>
                    <a:pt x="20329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8" name="Shape">
              <a:extLst>
                <a:ext uri="{FF2B5EF4-FFF2-40B4-BE49-F238E27FC236}">
                  <a16:creationId xmlns:a16="http://schemas.microsoft.com/office/drawing/2014/main" id="{AFC3EC9B-C21A-4FD6-8C33-BB192937A68E}"/>
                </a:ext>
              </a:extLst>
            </p:cNvPr>
            <p:cNvSpPr/>
            <p:nvPr/>
          </p:nvSpPr>
          <p:spPr>
            <a:xfrm>
              <a:off x="631969" y="707002"/>
              <a:ext cx="297123" cy="338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29" y="0"/>
                  </a:moveTo>
                  <a:cubicBezTo>
                    <a:pt x="635" y="0"/>
                    <a:pt x="635" y="0"/>
                    <a:pt x="635" y="0"/>
                  </a:cubicBezTo>
                  <a:cubicBezTo>
                    <a:pt x="0" y="0"/>
                    <a:pt x="0" y="5400"/>
                    <a:pt x="0" y="10800"/>
                  </a:cubicBezTo>
                  <a:cubicBezTo>
                    <a:pt x="0" y="16200"/>
                    <a:pt x="0" y="21600"/>
                    <a:pt x="635" y="21600"/>
                  </a:cubicBezTo>
                  <a:cubicBezTo>
                    <a:pt x="20329" y="21600"/>
                    <a:pt x="20329" y="21600"/>
                    <a:pt x="20329" y="21600"/>
                  </a:cubicBezTo>
                  <a:cubicBezTo>
                    <a:pt x="20965" y="21600"/>
                    <a:pt x="21600" y="16200"/>
                    <a:pt x="21600" y="10800"/>
                  </a:cubicBezTo>
                  <a:cubicBezTo>
                    <a:pt x="21600" y="5400"/>
                    <a:pt x="20965" y="0"/>
                    <a:pt x="20329" y="0"/>
                  </a:cubicBezTo>
                  <a:close/>
                  <a:moveTo>
                    <a:pt x="20329" y="0"/>
                  </a:moveTo>
                  <a:cubicBezTo>
                    <a:pt x="20329" y="0"/>
                    <a:pt x="20329" y="0"/>
                    <a:pt x="20329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3C33DCCC-19CF-46CB-9350-BFD68267845D}"/>
                </a:ext>
              </a:extLst>
            </p:cNvPr>
            <p:cNvSpPr/>
            <p:nvPr/>
          </p:nvSpPr>
          <p:spPr>
            <a:xfrm>
              <a:off x="259388" y="504633"/>
              <a:ext cx="669701" cy="3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9" y="0"/>
                  </a:moveTo>
                  <a:cubicBezTo>
                    <a:pt x="561" y="0"/>
                    <a:pt x="561" y="0"/>
                    <a:pt x="561" y="0"/>
                  </a:cubicBezTo>
                  <a:cubicBezTo>
                    <a:pt x="281" y="0"/>
                    <a:pt x="0" y="5400"/>
                    <a:pt x="0" y="10800"/>
                  </a:cubicBezTo>
                  <a:cubicBezTo>
                    <a:pt x="0" y="16200"/>
                    <a:pt x="281" y="21600"/>
                    <a:pt x="561" y="21600"/>
                  </a:cubicBezTo>
                  <a:cubicBezTo>
                    <a:pt x="21039" y="21600"/>
                    <a:pt x="21039" y="21600"/>
                    <a:pt x="21039" y="21600"/>
                  </a:cubicBezTo>
                  <a:cubicBezTo>
                    <a:pt x="21319" y="21600"/>
                    <a:pt x="21600" y="16200"/>
                    <a:pt x="21600" y="10800"/>
                  </a:cubicBezTo>
                  <a:cubicBezTo>
                    <a:pt x="21600" y="5400"/>
                    <a:pt x="21319" y="0"/>
                    <a:pt x="21039" y="0"/>
                  </a:cubicBezTo>
                  <a:close/>
                  <a:moveTo>
                    <a:pt x="21039" y="0"/>
                  </a:moveTo>
                  <a:cubicBezTo>
                    <a:pt x="21039" y="0"/>
                    <a:pt x="21039" y="0"/>
                    <a:pt x="21039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20" name="Shape">
              <a:extLst>
                <a:ext uri="{FF2B5EF4-FFF2-40B4-BE49-F238E27FC236}">
                  <a16:creationId xmlns:a16="http://schemas.microsoft.com/office/drawing/2014/main" id="{22006423-AE26-4FA3-82BF-CBC7CCD5F0C3}"/>
                </a:ext>
              </a:extLst>
            </p:cNvPr>
            <p:cNvSpPr/>
            <p:nvPr/>
          </p:nvSpPr>
          <p:spPr>
            <a:xfrm>
              <a:off x="259388" y="598957"/>
              <a:ext cx="669701" cy="37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9" y="0"/>
                  </a:moveTo>
                  <a:cubicBezTo>
                    <a:pt x="561" y="0"/>
                    <a:pt x="561" y="0"/>
                    <a:pt x="561" y="0"/>
                  </a:cubicBezTo>
                  <a:cubicBezTo>
                    <a:pt x="281" y="0"/>
                    <a:pt x="0" y="5400"/>
                    <a:pt x="0" y="10800"/>
                  </a:cubicBezTo>
                  <a:cubicBezTo>
                    <a:pt x="0" y="16200"/>
                    <a:pt x="281" y="21600"/>
                    <a:pt x="561" y="21600"/>
                  </a:cubicBezTo>
                  <a:cubicBezTo>
                    <a:pt x="21039" y="21600"/>
                    <a:pt x="21039" y="21600"/>
                    <a:pt x="21039" y="21600"/>
                  </a:cubicBezTo>
                  <a:cubicBezTo>
                    <a:pt x="21319" y="21600"/>
                    <a:pt x="21600" y="16200"/>
                    <a:pt x="21600" y="10800"/>
                  </a:cubicBezTo>
                  <a:cubicBezTo>
                    <a:pt x="21600" y="5400"/>
                    <a:pt x="21319" y="0"/>
                    <a:pt x="21039" y="0"/>
                  </a:cubicBezTo>
                  <a:close/>
                  <a:moveTo>
                    <a:pt x="21039" y="0"/>
                  </a:moveTo>
                  <a:cubicBezTo>
                    <a:pt x="21039" y="0"/>
                    <a:pt x="21039" y="0"/>
                    <a:pt x="21039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21" name="Shape">
              <a:extLst>
                <a:ext uri="{FF2B5EF4-FFF2-40B4-BE49-F238E27FC236}">
                  <a16:creationId xmlns:a16="http://schemas.microsoft.com/office/drawing/2014/main" id="{EA2334C0-AA03-454A-BFC6-74AAE878F87A}"/>
                </a:ext>
              </a:extLst>
            </p:cNvPr>
            <p:cNvSpPr/>
            <p:nvPr/>
          </p:nvSpPr>
          <p:spPr>
            <a:xfrm>
              <a:off x="259388" y="132053"/>
              <a:ext cx="301838" cy="3018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69" y="21600"/>
                  </a:moveTo>
                  <a:cubicBezTo>
                    <a:pt x="19131" y="21600"/>
                    <a:pt x="19131" y="21600"/>
                    <a:pt x="19131" y="21600"/>
                  </a:cubicBezTo>
                  <a:cubicBezTo>
                    <a:pt x="20366" y="21600"/>
                    <a:pt x="21600" y="20366"/>
                    <a:pt x="21600" y="19131"/>
                  </a:cubicBezTo>
                  <a:cubicBezTo>
                    <a:pt x="21600" y="2469"/>
                    <a:pt x="21600" y="2469"/>
                    <a:pt x="21600" y="2469"/>
                  </a:cubicBezTo>
                  <a:cubicBezTo>
                    <a:pt x="21600" y="1234"/>
                    <a:pt x="20366" y="0"/>
                    <a:pt x="19131" y="0"/>
                  </a:cubicBezTo>
                  <a:cubicBezTo>
                    <a:pt x="2469" y="0"/>
                    <a:pt x="2469" y="0"/>
                    <a:pt x="2469" y="0"/>
                  </a:cubicBezTo>
                  <a:cubicBezTo>
                    <a:pt x="1234" y="0"/>
                    <a:pt x="0" y="1234"/>
                    <a:pt x="0" y="2469"/>
                  </a:cubicBezTo>
                  <a:cubicBezTo>
                    <a:pt x="0" y="19131"/>
                    <a:pt x="0" y="19131"/>
                    <a:pt x="0" y="19131"/>
                  </a:cubicBezTo>
                  <a:cubicBezTo>
                    <a:pt x="0" y="20366"/>
                    <a:pt x="1234" y="21600"/>
                    <a:pt x="2469" y="21600"/>
                  </a:cubicBezTo>
                  <a:close/>
                  <a:moveTo>
                    <a:pt x="4937" y="4937"/>
                  </a:moveTo>
                  <a:cubicBezTo>
                    <a:pt x="16663" y="4937"/>
                    <a:pt x="16663" y="4937"/>
                    <a:pt x="16663" y="4937"/>
                  </a:cubicBezTo>
                  <a:cubicBezTo>
                    <a:pt x="16663" y="16663"/>
                    <a:pt x="16663" y="16663"/>
                    <a:pt x="16663" y="16663"/>
                  </a:cubicBezTo>
                  <a:cubicBezTo>
                    <a:pt x="4937" y="16663"/>
                    <a:pt x="4937" y="16663"/>
                    <a:pt x="4937" y="16663"/>
                  </a:cubicBezTo>
                  <a:lnTo>
                    <a:pt x="4937" y="4937"/>
                  </a:lnTo>
                  <a:close/>
                  <a:moveTo>
                    <a:pt x="4937" y="4937"/>
                  </a:moveTo>
                  <a:cubicBezTo>
                    <a:pt x="4937" y="4937"/>
                    <a:pt x="4937" y="4937"/>
                    <a:pt x="4937" y="4937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60960" tIns="60960" rIns="60960" bIns="60960" numCol="1" anchor="t">
              <a:noAutofit/>
            </a:bodyPr>
            <a:lstStyle/>
            <a:p>
              <a:pPr defTabSz="609600" hangingPunct="0">
                <a:defRPr/>
              </a:pPr>
              <a:endParaRPr sz="2400" kern="0">
                <a:solidFill>
                  <a:srgbClr val="000000"/>
                </a:solidFill>
                <a:latin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11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C21F1-12FA-4750-B50B-A5670C1BB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Neural Network Model </a:t>
            </a:r>
            <a:endParaRPr lang="ar-SA" sz="3200" dirty="0"/>
          </a:p>
        </p:txBody>
      </p:sp>
      <p:pic>
        <p:nvPicPr>
          <p:cNvPr id="3" name="Picture 2" descr="Chart, waterfall chart&#10;&#10;Description automatically generated">
            <a:extLst>
              <a:ext uri="{FF2B5EF4-FFF2-40B4-BE49-F238E27FC236}">
                <a16:creationId xmlns:a16="http://schemas.microsoft.com/office/drawing/2014/main" id="{6A3E416D-C1E0-4567-896F-1EDA0E76FA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8409" y="1040394"/>
            <a:ext cx="5995541" cy="530484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3BB8DD-25E3-46C4-BB56-37E5626CF124}"/>
              </a:ext>
            </a:extLst>
          </p:cNvPr>
          <p:cNvSpPr txBox="1"/>
          <p:nvPr/>
        </p:nvSpPr>
        <p:spPr>
          <a:xfrm>
            <a:off x="602535" y="1890445"/>
            <a:ext cx="4510355" cy="21062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>
                <a:solidFill>
                  <a:srgbClr val="8C8C8C"/>
                </a:solidFill>
                <a:latin typeface="Objectivity"/>
              </a:rPr>
              <a:t>Here is the confusion matrix for Neural network model </a:t>
            </a:r>
            <a:r>
              <a:rPr lang="en-US" sz="2000" b="0" i="0" dirty="0">
                <a:solidFill>
                  <a:srgbClr val="8C8C8C"/>
                </a:solidFill>
                <a:effectLst/>
                <a:latin typeface="Objectivity"/>
              </a:rPr>
              <a:t>to visualize important predictive analytics like recall, specificity, accuracy, and precision.</a:t>
            </a:r>
            <a:endParaRPr lang="ar-SA" sz="2000" dirty="0" err="1">
              <a:solidFill>
                <a:srgbClr val="8C8C8C"/>
              </a:solidFill>
              <a:latin typeface="Objectivity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BFB07E-B6BC-4F3B-905E-802ADC5B98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4935" y="2341331"/>
            <a:ext cx="32760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44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685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671CC-AB8B-004E-97DA-70C6B2D183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126" y="1866900"/>
            <a:ext cx="5400674" cy="621122"/>
          </a:xfrm>
        </p:spPr>
        <p:txBody>
          <a:bodyPr/>
          <a:lstStyle/>
          <a:p>
            <a:r>
              <a:rPr lang="en-US" dirty="0"/>
              <a:t>Introduction</a:t>
            </a:r>
            <a:endParaRPr lang="en-S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EF57C3-F33E-9C4B-9400-25B55AFBB9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275" y="2762250"/>
            <a:ext cx="5400675" cy="2990850"/>
          </a:xfrm>
        </p:spPr>
        <p:txBody>
          <a:bodyPr/>
          <a:lstStyle/>
          <a:p>
            <a:r>
              <a:rPr lang="en-US" sz="2000" dirty="0">
                <a:latin typeface="Objectivity"/>
              </a:rPr>
              <a:t>Data cleaning for large-scale datasets can be a daunting task. Automating the process of removing unneeded records is a very important problem in data science. So, we will develop a system that is able to help a data scientist organize his data based on the type of utterance using the annotated dataset provided.</a:t>
            </a:r>
            <a:endParaRPr lang="en-SA" sz="2000" dirty="0">
              <a:latin typeface="Objectivity"/>
            </a:endParaRPr>
          </a:p>
        </p:txBody>
      </p:sp>
    </p:spTree>
    <p:extLst>
      <p:ext uri="{BB962C8B-B14F-4D97-AF65-F5344CB8AC3E}">
        <p14:creationId xmlns:p14="http://schemas.microsoft.com/office/powerpoint/2010/main" val="8291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CEC83-286E-4145-93DA-D88B4BA5EE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5776" y="1533525"/>
            <a:ext cx="5400674" cy="659222"/>
          </a:xfrm>
        </p:spPr>
        <p:txBody>
          <a:bodyPr/>
          <a:lstStyle/>
          <a:p>
            <a:r>
              <a:rPr lang="en-US" dirty="0"/>
              <a:t>About Dataset</a:t>
            </a:r>
            <a:endParaRPr lang="en-S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90F9A6-77AA-C34F-B8E7-2D19D4F37C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2443740"/>
            <a:ext cx="6574603" cy="314540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The dataset is tweets taken from the replies @Tawakkalna_care Twitter account its about </a:t>
            </a:r>
            <a:r>
              <a:rPr lang="en-US" b="0" i="0" u="none" strike="noStrike" dirty="0">
                <a:solidFill>
                  <a:srgbClr val="8C8C8C"/>
                </a:solidFill>
                <a:effectLst/>
                <a:latin typeface="Objectivity Light"/>
              </a:rPr>
              <a:t>2k data point (labeled)</a:t>
            </a:r>
            <a:r>
              <a:rPr lang="en-US" b="0" i="0" u="none" strike="noStrike" dirty="0">
                <a:solidFill>
                  <a:srgbClr val="8C8C8C"/>
                </a:solidFill>
                <a:latin typeface="Objectivity Light"/>
              </a:rPr>
              <a:t> and </a:t>
            </a:r>
            <a:r>
              <a:rPr lang="en-US" dirty="0"/>
              <a:t>it's classified with the type of utterance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C000"/>
                </a:solidFill>
              </a:rPr>
              <a:t>Commen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C000"/>
                </a:solidFill>
              </a:rPr>
              <a:t>Ques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C000"/>
                </a:solidFill>
              </a:rPr>
              <a:t>Answ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C000"/>
                </a:solidFill>
              </a:rPr>
              <a:t>Nois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C000"/>
                </a:solidFill>
              </a:rPr>
              <a:t>Repeated.</a:t>
            </a:r>
            <a:endParaRPr lang="en-SA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39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bcgIcons_Target">
            <a:extLst>
              <a:ext uri="{FF2B5EF4-FFF2-40B4-BE49-F238E27FC236}">
                <a16:creationId xmlns:a16="http://schemas.microsoft.com/office/drawing/2014/main" id="{18D522E9-8617-664F-94B5-7C00C81ECE86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-1873813" y="345898"/>
            <a:ext cx="8781288" cy="8789426"/>
            <a:chOff x="1682" y="0"/>
            <a:chExt cx="4316" cy="4320"/>
          </a:xfrm>
        </p:grpSpPr>
        <p:sp>
          <p:nvSpPr>
            <p:cNvPr id="51" name="AutoShape 23">
              <a:extLst>
                <a:ext uri="{FF2B5EF4-FFF2-40B4-BE49-F238E27FC236}">
                  <a16:creationId xmlns:a16="http://schemas.microsoft.com/office/drawing/2014/main" id="{CA33E85D-B32C-AA47-9214-E274BCAC8F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bjectivity Light" pitchFamily="2" charset="77"/>
              </a:endParaRPr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9E73C364-99CA-B64B-8002-6662ABBDF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rgbClr val="36BA94">
                <a:alpha val="1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bjectivity Light" pitchFamily="2" charset="77"/>
              </a:endParaRPr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60772496-FEAC-D243-9F80-041BAB4FF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rgbClr val="273370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algn="l" defTabSz="914400" rtl="0" eaLnBrk="1" latinLnBrk="0" hangingPunct="1"/>
              <a:endParaRPr lang="en-US" dirty="0">
                <a:latin typeface="Objectivity Light" pitchFamily="2" charset="77"/>
              </a:endParaRPr>
            </a:p>
          </p:txBody>
        </p:sp>
      </p:grpSp>
      <p:sp>
        <p:nvSpPr>
          <p:cNvPr id="56" name="Freeform: Shape 41">
            <a:extLst>
              <a:ext uri="{FF2B5EF4-FFF2-40B4-BE49-F238E27FC236}">
                <a16:creationId xmlns:a16="http://schemas.microsoft.com/office/drawing/2014/main" id="{D8EC6864-AE13-2549-8D0A-E0AC62C68677}"/>
              </a:ext>
            </a:extLst>
          </p:cNvPr>
          <p:cNvSpPr>
            <a:spLocks/>
          </p:cNvSpPr>
          <p:nvPr/>
        </p:nvSpPr>
        <p:spPr bwMode="auto">
          <a:xfrm rot="1910150" flipH="1">
            <a:off x="360714" y="219424"/>
            <a:ext cx="1272752" cy="1424215"/>
          </a:xfrm>
          <a:custGeom>
            <a:avLst/>
            <a:gdLst>
              <a:gd name="connsiteX0" fmla="*/ 998433 w 1997375"/>
              <a:gd name="connsiteY0" fmla="*/ 0 h 2235069"/>
              <a:gd name="connsiteX1" fmla="*/ 1111163 w 1997375"/>
              <a:gd name="connsiteY1" fmla="*/ 30048 h 2235069"/>
              <a:gd name="connsiteX2" fmla="*/ 1884560 w 1997375"/>
              <a:gd name="connsiteY2" fmla="*/ 476179 h 2235069"/>
              <a:gd name="connsiteX3" fmla="*/ 1997375 w 1997375"/>
              <a:gd name="connsiteY3" fmla="*/ 671064 h 2235069"/>
              <a:gd name="connsiteX4" fmla="*/ 1997375 w 1997375"/>
              <a:gd name="connsiteY4" fmla="*/ 1564005 h 2235069"/>
              <a:gd name="connsiteX5" fmla="*/ 1884560 w 1997375"/>
              <a:gd name="connsiteY5" fmla="*/ 1758212 h 2235069"/>
              <a:gd name="connsiteX6" fmla="*/ 1111163 w 1997375"/>
              <a:gd name="connsiteY6" fmla="*/ 2205022 h 2235069"/>
              <a:gd name="connsiteX7" fmla="*/ 886212 w 1997375"/>
              <a:gd name="connsiteY7" fmla="*/ 2205022 h 2235069"/>
              <a:gd name="connsiteX8" fmla="*/ 112136 w 1997375"/>
              <a:gd name="connsiteY8" fmla="*/ 1758212 h 2235069"/>
              <a:gd name="connsiteX9" fmla="*/ 0 w 1997375"/>
              <a:gd name="connsiteY9" fmla="*/ 1564005 h 2235069"/>
              <a:gd name="connsiteX10" fmla="*/ 0 w 1997375"/>
              <a:gd name="connsiteY10" fmla="*/ 671064 h 2235069"/>
              <a:gd name="connsiteX11" fmla="*/ 112136 w 1997375"/>
              <a:gd name="connsiteY11" fmla="*/ 476179 h 2235069"/>
              <a:gd name="connsiteX12" fmla="*/ 886212 w 1997375"/>
              <a:gd name="connsiteY12" fmla="*/ 30048 h 2235069"/>
              <a:gd name="connsiteX13" fmla="*/ 998433 w 1997375"/>
              <a:gd name="connsiteY13" fmla="*/ 0 h 2235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97375" h="2235069">
                <a:moveTo>
                  <a:pt x="998433" y="0"/>
                </a:moveTo>
                <a:cubicBezTo>
                  <a:pt x="1037256" y="0"/>
                  <a:pt x="1076163" y="10016"/>
                  <a:pt x="1111163" y="30048"/>
                </a:cubicBezTo>
                <a:lnTo>
                  <a:pt x="1884560" y="476179"/>
                </a:lnTo>
                <a:cubicBezTo>
                  <a:pt x="1954560" y="516921"/>
                  <a:pt x="1997375" y="590937"/>
                  <a:pt x="1997375" y="671064"/>
                </a:cubicBezTo>
                <a:lnTo>
                  <a:pt x="1997375" y="1564005"/>
                </a:lnTo>
                <a:cubicBezTo>
                  <a:pt x="1997375" y="1644132"/>
                  <a:pt x="1954560" y="1718148"/>
                  <a:pt x="1884560" y="1758212"/>
                </a:cubicBezTo>
                <a:lnTo>
                  <a:pt x="1111163" y="2205022"/>
                </a:lnTo>
                <a:cubicBezTo>
                  <a:pt x="1041163" y="2245085"/>
                  <a:pt x="955532" y="2245085"/>
                  <a:pt x="886212" y="2205022"/>
                </a:cubicBezTo>
                <a:lnTo>
                  <a:pt x="112136" y="1758212"/>
                </a:lnTo>
                <a:cubicBezTo>
                  <a:pt x="42816" y="1718148"/>
                  <a:pt x="0" y="1644132"/>
                  <a:pt x="0" y="1564005"/>
                </a:cubicBezTo>
                <a:lnTo>
                  <a:pt x="0" y="671064"/>
                </a:lnTo>
                <a:cubicBezTo>
                  <a:pt x="0" y="590937"/>
                  <a:pt x="42816" y="516921"/>
                  <a:pt x="112136" y="476179"/>
                </a:cubicBezTo>
                <a:lnTo>
                  <a:pt x="886212" y="30048"/>
                </a:lnTo>
                <a:cubicBezTo>
                  <a:pt x="920872" y="10016"/>
                  <a:pt x="959610" y="0"/>
                  <a:pt x="998433" y="0"/>
                </a:cubicBezTo>
                <a:close/>
              </a:path>
            </a:pathLst>
          </a:custGeom>
          <a:noFill/>
          <a:ln w="19050">
            <a:solidFill>
              <a:srgbClr val="1E27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64008" rIns="64008" bIns="64008" rtlCol="0" anchor="ctr"/>
          <a:lstStyle/>
          <a:p>
            <a:pPr marL="0" algn="ctr" defTabSz="914377" rtl="0" eaLnBrk="1" latinLnBrk="0" hangingPunct="1">
              <a:lnSpc>
                <a:spcPct val="95000"/>
              </a:lnSpc>
            </a:pPr>
            <a:endParaRPr lang="en-US" sz="1260" kern="0" dirty="0">
              <a:solidFill>
                <a:srgbClr val="FFFFFF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</a:endParaRPr>
          </a:p>
        </p:txBody>
      </p:sp>
      <p:grpSp>
        <p:nvGrpSpPr>
          <p:cNvPr id="57" name="Graphic 2">
            <a:extLst>
              <a:ext uri="{FF2B5EF4-FFF2-40B4-BE49-F238E27FC236}">
                <a16:creationId xmlns:a16="http://schemas.microsoft.com/office/drawing/2014/main" id="{BF7E4FCF-D3A7-1C48-84FB-D0B08A34AE7C}"/>
              </a:ext>
            </a:extLst>
          </p:cNvPr>
          <p:cNvGrpSpPr/>
          <p:nvPr/>
        </p:nvGrpSpPr>
        <p:grpSpPr>
          <a:xfrm>
            <a:off x="557224" y="517192"/>
            <a:ext cx="879732" cy="879732"/>
            <a:chOff x="7669339" y="1482492"/>
            <a:chExt cx="879732" cy="879732"/>
          </a:xfrm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0466273A-ABC8-8B4C-A3FD-2A1ABC2082CC}"/>
                </a:ext>
              </a:extLst>
            </p:cNvPr>
            <p:cNvSpPr/>
            <p:nvPr/>
          </p:nvSpPr>
          <p:spPr>
            <a:xfrm>
              <a:off x="7941189" y="1519409"/>
              <a:ext cx="507173" cy="507429"/>
            </a:xfrm>
            <a:custGeom>
              <a:avLst/>
              <a:gdLst>
                <a:gd name="connsiteX0" fmla="*/ 326550 w 507173"/>
                <a:gd name="connsiteY0" fmla="*/ 163599 h 507429"/>
                <a:gd name="connsiteX1" fmla="*/ 272798 w 507173"/>
                <a:gd name="connsiteY1" fmla="*/ 217349 h 507429"/>
                <a:gd name="connsiteX2" fmla="*/ 40023 w 507173"/>
                <a:gd name="connsiteY2" fmla="*/ 234631 h 507429"/>
                <a:gd name="connsiteX3" fmla="*/ 57305 w 507173"/>
                <a:gd name="connsiteY3" fmla="*/ 467406 h 507429"/>
                <a:gd name="connsiteX4" fmla="*/ 290080 w 507173"/>
                <a:gd name="connsiteY4" fmla="*/ 450124 h 507429"/>
                <a:gd name="connsiteX5" fmla="*/ 289829 w 507173"/>
                <a:gd name="connsiteY5" fmla="*/ 234340 h 507429"/>
                <a:gd name="connsiteX6" fmla="*/ 343558 w 507173"/>
                <a:gd name="connsiteY6" fmla="*/ 180610 h 507429"/>
                <a:gd name="connsiteX7" fmla="*/ 402332 w 507173"/>
                <a:gd name="connsiteY7" fmla="*/ 195304 h 507429"/>
                <a:gd name="connsiteX8" fmla="*/ 413755 w 507173"/>
                <a:gd name="connsiteY8" fmla="*/ 192139 h 507429"/>
                <a:gd name="connsiteX9" fmla="*/ 503651 w 507173"/>
                <a:gd name="connsiteY9" fmla="*/ 102258 h 507429"/>
                <a:gd name="connsiteX10" fmla="*/ 503651 w 507173"/>
                <a:gd name="connsiteY10" fmla="*/ 85249 h 507429"/>
                <a:gd name="connsiteX11" fmla="*/ 496329 w 507173"/>
                <a:gd name="connsiteY11" fmla="*/ 81784 h 507429"/>
                <a:gd name="connsiteX12" fmla="*/ 431776 w 507173"/>
                <a:gd name="connsiteY12" fmla="*/ 75399 h 507429"/>
                <a:gd name="connsiteX13" fmla="*/ 425389 w 507173"/>
                <a:gd name="connsiteY13" fmla="*/ 10845 h 507429"/>
                <a:gd name="connsiteX14" fmla="*/ 412236 w 507173"/>
                <a:gd name="connsiteY14" fmla="*/ 59 h 507429"/>
                <a:gd name="connsiteX15" fmla="*/ 404915 w 507173"/>
                <a:gd name="connsiteY15" fmla="*/ 3524 h 507429"/>
                <a:gd name="connsiteX16" fmla="*/ 315019 w 507173"/>
                <a:gd name="connsiteY16" fmla="*/ 93422 h 507429"/>
                <a:gd name="connsiteX17" fmla="*/ 311855 w 507173"/>
                <a:gd name="connsiteY17" fmla="*/ 104843 h 507429"/>
                <a:gd name="connsiteX18" fmla="*/ 309483 w 507173"/>
                <a:gd name="connsiteY18" fmla="*/ 342231 h 507429"/>
                <a:gd name="connsiteX19" fmla="*/ 165151 w 507173"/>
                <a:gd name="connsiteY19" fmla="*/ 487012 h 507429"/>
                <a:gd name="connsiteX20" fmla="*/ 20370 w 507173"/>
                <a:gd name="connsiteY20" fmla="*/ 342681 h 507429"/>
                <a:gd name="connsiteX21" fmla="*/ 164701 w 507173"/>
                <a:gd name="connsiteY21" fmla="*/ 197900 h 507429"/>
                <a:gd name="connsiteX22" fmla="*/ 258163 w 507173"/>
                <a:gd name="connsiteY22" fmla="*/ 231986 h 507429"/>
                <a:gd name="connsiteX23" fmla="*/ 205107 w 507173"/>
                <a:gd name="connsiteY23" fmla="*/ 285042 h 507429"/>
                <a:gd name="connsiteX24" fmla="*/ 107720 w 507173"/>
                <a:gd name="connsiteY24" fmla="*/ 302269 h 507429"/>
                <a:gd name="connsiteX25" fmla="*/ 124947 w 507173"/>
                <a:gd name="connsiteY25" fmla="*/ 399656 h 507429"/>
                <a:gd name="connsiteX26" fmla="*/ 222334 w 507173"/>
                <a:gd name="connsiteY26" fmla="*/ 382429 h 507429"/>
                <a:gd name="connsiteX27" fmla="*/ 222155 w 507173"/>
                <a:gd name="connsiteY27" fmla="*/ 302014 h 507429"/>
                <a:gd name="connsiteX28" fmla="*/ 275188 w 507173"/>
                <a:gd name="connsiteY28" fmla="*/ 248995 h 507429"/>
                <a:gd name="connsiteX29" fmla="*/ 309483 w 507173"/>
                <a:gd name="connsiteY29" fmla="*/ 342238 h 507429"/>
                <a:gd name="connsiteX30" fmla="*/ 214339 w 507173"/>
                <a:gd name="connsiteY30" fmla="*/ 342231 h 507429"/>
                <a:gd name="connsiteX31" fmla="*/ 165153 w 507173"/>
                <a:gd name="connsiteY31" fmla="*/ 391524 h 507429"/>
                <a:gd name="connsiteX32" fmla="*/ 115861 w 507173"/>
                <a:gd name="connsiteY32" fmla="*/ 342338 h 507429"/>
                <a:gd name="connsiteX33" fmla="*/ 165047 w 507173"/>
                <a:gd name="connsiteY33" fmla="*/ 293045 h 507429"/>
                <a:gd name="connsiteX34" fmla="*/ 190215 w 507173"/>
                <a:gd name="connsiteY34" fmla="*/ 299932 h 507429"/>
                <a:gd name="connsiteX35" fmla="*/ 156401 w 507173"/>
                <a:gd name="connsiteY35" fmla="*/ 333747 h 507429"/>
                <a:gd name="connsiteX36" fmla="*/ 156401 w 507173"/>
                <a:gd name="connsiteY36" fmla="*/ 350757 h 507429"/>
                <a:gd name="connsiteX37" fmla="*/ 173411 w 507173"/>
                <a:gd name="connsiteY37" fmla="*/ 350757 h 507429"/>
                <a:gd name="connsiteX38" fmla="*/ 207284 w 507173"/>
                <a:gd name="connsiteY38" fmla="*/ 316882 h 507429"/>
                <a:gd name="connsiteX39" fmla="*/ 214339 w 507173"/>
                <a:gd name="connsiteY39" fmla="*/ 342238 h 507429"/>
                <a:gd name="connsiteX40" fmla="*/ 401559 w 507173"/>
                <a:gd name="connsiteY40" fmla="*/ 170321 h 507429"/>
                <a:gd name="connsiteX41" fmla="*/ 363395 w 507173"/>
                <a:gd name="connsiteY41" fmla="*/ 160781 h 507429"/>
                <a:gd name="connsiteX42" fmla="*/ 425251 w 507173"/>
                <a:gd name="connsiteY42" fmla="*/ 98925 h 507429"/>
                <a:gd name="connsiteX43" fmla="*/ 468664 w 507173"/>
                <a:gd name="connsiteY43" fmla="*/ 103221 h 507429"/>
                <a:gd name="connsiteX44" fmla="*/ 403952 w 507173"/>
                <a:gd name="connsiteY44" fmla="*/ 38499 h 507429"/>
                <a:gd name="connsiteX45" fmla="*/ 408248 w 507173"/>
                <a:gd name="connsiteY45" fmla="*/ 81908 h 507429"/>
                <a:gd name="connsiteX46" fmla="*/ 346392 w 507173"/>
                <a:gd name="connsiteY46" fmla="*/ 143764 h 507429"/>
                <a:gd name="connsiteX47" fmla="*/ 336850 w 507173"/>
                <a:gd name="connsiteY47" fmla="*/ 105600 h 50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07173" h="507429">
                  <a:moveTo>
                    <a:pt x="326550" y="163599"/>
                  </a:moveTo>
                  <a:lnTo>
                    <a:pt x="272798" y="217349"/>
                  </a:lnTo>
                  <a:cubicBezTo>
                    <a:pt x="203748" y="157841"/>
                    <a:pt x="99531" y="165579"/>
                    <a:pt x="40023" y="234631"/>
                  </a:cubicBezTo>
                  <a:cubicBezTo>
                    <a:pt x="-19482" y="303681"/>
                    <a:pt x="-11745" y="407898"/>
                    <a:pt x="57305" y="467406"/>
                  </a:cubicBezTo>
                  <a:cubicBezTo>
                    <a:pt x="126357" y="526911"/>
                    <a:pt x="230573" y="519174"/>
                    <a:pt x="290080" y="450124"/>
                  </a:cubicBezTo>
                  <a:cubicBezTo>
                    <a:pt x="343536" y="388092"/>
                    <a:pt x="343430" y="296246"/>
                    <a:pt x="289829" y="234340"/>
                  </a:cubicBezTo>
                  <a:lnTo>
                    <a:pt x="343558" y="180610"/>
                  </a:lnTo>
                  <a:lnTo>
                    <a:pt x="402332" y="195304"/>
                  </a:lnTo>
                  <a:cubicBezTo>
                    <a:pt x="406432" y="196328"/>
                    <a:pt x="410767" y="195127"/>
                    <a:pt x="413755" y="192139"/>
                  </a:cubicBezTo>
                  <a:lnTo>
                    <a:pt x="503651" y="102258"/>
                  </a:lnTo>
                  <a:cubicBezTo>
                    <a:pt x="508348" y="97562"/>
                    <a:pt x="508348" y="89946"/>
                    <a:pt x="503651" y="85249"/>
                  </a:cubicBezTo>
                  <a:cubicBezTo>
                    <a:pt x="501685" y="83282"/>
                    <a:pt x="499097" y="82058"/>
                    <a:pt x="496329" y="81784"/>
                  </a:cubicBezTo>
                  <a:lnTo>
                    <a:pt x="431776" y="75399"/>
                  </a:lnTo>
                  <a:lnTo>
                    <a:pt x="425389" y="10845"/>
                  </a:lnTo>
                  <a:cubicBezTo>
                    <a:pt x="424736" y="4235"/>
                    <a:pt x="418848" y="-594"/>
                    <a:pt x="412236" y="59"/>
                  </a:cubicBezTo>
                  <a:cubicBezTo>
                    <a:pt x="409470" y="333"/>
                    <a:pt x="406882" y="1557"/>
                    <a:pt x="404915" y="3524"/>
                  </a:cubicBezTo>
                  <a:lnTo>
                    <a:pt x="315019" y="93422"/>
                  </a:lnTo>
                  <a:cubicBezTo>
                    <a:pt x="312032" y="96409"/>
                    <a:pt x="310831" y="100744"/>
                    <a:pt x="311855" y="104843"/>
                  </a:cubicBezTo>
                  <a:close/>
                  <a:moveTo>
                    <a:pt x="309483" y="342231"/>
                  </a:moveTo>
                  <a:cubicBezTo>
                    <a:pt x="309606" y="422067"/>
                    <a:pt x="244987" y="486887"/>
                    <a:pt x="165151" y="487012"/>
                  </a:cubicBezTo>
                  <a:cubicBezTo>
                    <a:pt x="85316" y="487136"/>
                    <a:pt x="20494" y="422517"/>
                    <a:pt x="20370" y="342681"/>
                  </a:cubicBezTo>
                  <a:cubicBezTo>
                    <a:pt x="20247" y="262844"/>
                    <a:pt x="84866" y="198024"/>
                    <a:pt x="164701" y="197900"/>
                  </a:cubicBezTo>
                  <a:cubicBezTo>
                    <a:pt x="198908" y="197847"/>
                    <a:pt x="232023" y="209924"/>
                    <a:pt x="258163" y="231986"/>
                  </a:cubicBezTo>
                  <a:lnTo>
                    <a:pt x="205107" y="285042"/>
                  </a:lnTo>
                  <a:cubicBezTo>
                    <a:pt x="173457" y="262906"/>
                    <a:pt x="129856" y="270619"/>
                    <a:pt x="107720" y="302269"/>
                  </a:cubicBezTo>
                  <a:cubicBezTo>
                    <a:pt x="85586" y="333918"/>
                    <a:pt x="93297" y="377520"/>
                    <a:pt x="124947" y="399656"/>
                  </a:cubicBezTo>
                  <a:cubicBezTo>
                    <a:pt x="156596" y="421790"/>
                    <a:pt x="200198" y="414079"/>
                    <a:pt x="222334" y="382429"/>
                  </a:cubicBezTo>
                  <a:cubicBezTo>
                    <a:pt x="239233" y="358266"/>
                    <a:pt x="239161" y="326100"/>
                    <a:pt x="222155" y="302014"/>
                  </a:cubicBezTo>
                  <a:lnTo>
                    <a:pt x="275188" y="248995"/>
                  </a:lnTo>
                  <a:cubicBezTo>
                    <a:pt x="297345" y="275009"/>
                    <a:pt x="309505" y="308068"/>
                    <a:pt x="309483" y="342238"/>
                  </a:cubicBezTo>
                  <a:close/>
                  <a:moveTo>
                    <a:pt x="214339" y="342231"/>
                  </a:moveTo>
                  <a:cubicBezTo>
                    <a:pt x="214368" y="369426"/>
                    <a:pt x="192348" y="391494"/>
                    <a:pt x="165153" y="391524"/>
                  </a:cubicBezTo>
                  <a:cubicBezTo>
                    <a:pt x="137959" y="391553"/>
                    <a:pt x="115890" y="369532"/>
                    <a:pt x="115861" y="342338"/>
                  </a:cubicBezTo>
                  <a:cubicBezTo>
                    <a:pt x="115831" y="315143"/>
                    <a:pt x="137852" y="293074"/>
                    <a:pt x="165047" y="293045"/>
                  </a:cubicBezTo>
                  <a:cubicBezTo>
                    <a:pt x="173902" y="293035"/>
                    <a:pt x="182598" y="295415"/>
                    <a:pt x="190215" y="299932"/>
                  </a:cubicBezTo>
                  <a:lnTo>
                    <a:pt x="156401" y="333747"/>
                  </a:lnTo>
                  <a:cubicBezTo>
                    <a:pt x="151703" y="338444"/>
                    <a:pt x="151703" y="346059"/>
                    <a:pt x="156401" y="350757"/>
                  </a:cubicBezTo>
                  <a:cubicBezTo>
                    <a:pt x="161098" y="355455"/>
                    <a:pt x="168713" y="355455"/>
                    <a:pt x="173411" y="350757"/>
                  </a:cubicBezTo>
                  <a:lnTo>
                    <a:pt x="207284" y="316882"/>
                  </a:lnTo>
                  <a:cubicBezTo>
                    <a:pt x="211910" y="324530"/>
                    <a:pt x="214349" y="333300"/>
                    <a:pt x="214339" y="342238"/>
                  </a:cubicBezTo>
                  <a:close/>
                  <a:moveTo>
                    <a:pt x="401559" y="170321"/>
                  </a:moveTo>
                  <a:lnTo>
                    <a:pt x="363395" y="160781"/>
                  </a:lnTo>
                  <a:lnTo>
                    <a:pt x="425251" y="98925"/>
                  </a:lnTo>
                  <a:lnTo>
                    <a:pt x="468664" y="103221"/>
                  </a:lnTo>
                  <a:close/>
                  <a:moveTo>
                    <a:pt x="403952" y="38499"/>
                  </a:moveTo>
                  <a:lnTo>
                    <a:pt x="408248" y="81908"/>
                  </a:lnTo>
                  <a:lnTo>
                    <a:pt x="346392" y="143764"/>
                  </a:lnTo>
                  <a:lnTo>
                    <a:pt x="336850" y="105600"/>
                  </a:lnTo>
                  <a:close/>
                </a:path>
              </a:pathLst>
            </a:custGeom>
            <a:solidFill>
              <a:srgbClr val="3EA798"/>
            </a:solidFill>
            <a:ln w="17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algn="r" defTabSz="914400" rtl="1" eaLnBrk="1" latinLnBrk="0" hangingPunct="1"/>
              <a:endParaRPr lang="en-SA" dirty="0">
                <a:latin typeface="Objectivity Light" pitchFamily="2" charset="77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E8EC4F1-2DC4-D24B-A607-B3B6AB5437E6}"/>
                </a:ext>
              </a:extLst>
            </p:cNvPr>
            <p:cNvSpPr/>
            <p:nvPr/>
          </p:nvSpPr>
          <p:spPr>
            <a:xfrm>
              <a:off x="7873845" y="1630455"/>
              <a:ext cx="465947" cy="713039"/>
            </a:xfrm>
            <a:custGeom>
              <a:avLst/>
              <a:gdLst>
                <a:gd name="connsiteX0" fmla="*/ 75420 w 465947"/>
                <a:gd name="connsiteY0" fmla="*/ 404594 h 713039"/>
                <a:gd name="connsiteX1" fmla="*/ 122472 w 465947"/>
                <a:gd name="connsiteY1" fmla="*/ 512853 h 713039"/>
                <a:gd name="connsiteX2" fmla="*/ 122472 w 465947"/>
                <a:gd name="connsiteY2" fmla="*/ 624010 h 713039"/>
                <a:gd name="connsiteX3" fmla="*/ 167036 w 465947"/>
                <a:gd name="connsiteY3" fmla="*/ 668574 h 713039"/>
                <a:gd name="connsiteX4" fmla="*/ 222670 w 465947"/>
                <a:gd name="connsiteY4" fmla="*/ 668574 h 713039"/>
                <a:gd name="connsiteX5" fmla="*/ 222670 w 465947"/>
                <a:gd name="connsiteY5" fmla="*/ 702731 h 713039"/>
                <a:gd name="connsiteX6" fmla="*/ 232980 w 465947"/>
                <a:gd name="connsiteY6" fmla="*/ 713040 h 713039"/>
                <a:gd name="connsiteX7" fmla="*/ 243289 w 465947"/>
                <a:gd name="connsiteY7" fmla="*/ 702731 h 713039"/>
                <a:gd name="connsiteX8" fmla="*/ 243289 w 465947"/>
                <a:gd name="connsiteY8" fmla="*/ 668574 h 713039"/>
                <a:gd name="connsiteX9" fmla="*/ 298923 w 465947"/>
                <a:gd name="connsiteY9" fmla="*/ 668574 h 713039"/>
                <a:gd name="connsiteX10" fmla="*/ 343489 w 465947"/>
                <a:gd name="connsiteY10" fmla="*/ 624010 h 713039"/>
                <a:gd name="connsiteX11" fmla="*/ 343489 w 465947"/>
                <a:gd name="connsiteY11" fmla="*/ 512695 h 713039"/>
                <a:gd name="connsiteX12" fmla="*/ 391771 w 465947"/>
                <a:gd name="connsiteY12" fmla="*/ 403464 h 713039"/>
                <a:gd name="connsiteX13" fmla="*/ 465870 w 465947"/>
                <a:gd name="connsiteY13" fmla="*/ 226833 h 713039"/>
                <a:gd name="connsiteX14" fmla="*/ 416881 w 465947"/>
                <a:gd name="connsiteY14" fmla="*/ 90183 h 713039"/>
                <a:gd name="connsiteX15" fmla="*/ 402414 w 465947"/>
                <a:gd name="connsiteY15" fmla="*/ 88377 h 713039"/>
                <a:gd name="connsiteX16" fmla="*/ 400608 w 465947"/>
                <a:gd name="connsiteY16" fmla="*/ 102844 h 713039"/>
                <a:gd name="connsiteX17" fmla="*/ 400615 w 465947"/>
                <a:gd name="connsiteY17" fmla="*/ 102853 h 713039"/>
                <a:gd name="connsiteX18" fmla="*/ 445258 w 465947"/>
                <a:gd name="connsiteY18" fmla="*/ 227361 h 713039"/>
                <a:gd name="connsiteX19" fmla="*/ 377707 w 465947"/>
                <a:gd name="connsiteY19" fmla="*/ 388359 h 713039"/>
                <a:gd name="connsiteX20" fmla="*/ 323202 w 465947"/>
                <a:gd name="connsiteY20" fmla="*/ 502533 h 713039"/>
                <a:gd name="connsiteX21" fmla="*/ 142759 w 465947"/>
                <a:gd name="connsiteY21" fmla="*/ 502533 h 713039"/>
                <a:gd name="connsiteX22" fmla="*/ 89367 w 465947"/>
                <a:gd name="connsiteY22" fmla="*/ 389397 h 713039"/>
                <a:gd name="connsiteX23" fmla="*/ 76559 w 465947"/>
                <a:gd name="connsiteY23" fmla="*/ 89356 h 713039"/>
                <a:gd name="connsiteX24" fmla="*/ 232954 w 465947"/>
                <a:gd name="connsiteY24" fmla="*/ 20619 h 713039"/>
                <a:gd name="connsiteX25" fmla="*/ 234952 w 465947"/>
                <a:gd name="connsiteY25" fmla="*/ 20619 h 713039"/>
                <a:gd name="connsiteX26" fmla="*/ 360023 w 465947"/>
                <a:gd name="connsiteY26" fmla="*/ 63004 h 713039"/>
                <a:gd name="connsiteX27" fmla="*/ 374457 w 465947"/>
                <a:gd name="connsiteY27" fmla="*/ 60942 h 713039"/>
                <a:gd name="connsiteX28" fmla="*/ 372395 w 465947"/>
                <a:gd name="connsiteY28" fmla="*/ 46509 h 713039"/>
                <a:gd name="connsiteX29" fmla="*/ 235146 w 465947"/>
                <a:gd name="connsiteY29" fmla="*/ 10 h 713039"/>
                <a:gd name="connsiteX30" fmla="*/ 232957 w 465947"/>
                <a:gd name="connsiteY30" fmla="*/ 0 h 713039"/>
                <a:gd name="connsiteX31" fmla="*/ 0 w 465947"/>
                <a:gd name="connsiteY31" fmla="*/ 232992 h 713039"/>
                <a:gd name="connsiteX32" fmla="*/ 75420 w 465947"/>
                <a:gd name="connsiteY32" fmla="*/ 404594 h 713039"/>
                <a:gd name="connsiteX33" fmla="*/ 298918 w 465947"/>
                <a:gd name="connsiteY33" fmla="*/ 647955 h 713039"/>
                <a:gd name="connsiteX34" fmla="*/ 167031 w 465947"/>
                <a:gd name="connsiteY34" fmla="*/ 647955 h 713039"/>
                <a:gd name="connsiteX35" fmla="*/ 143090 w 465947"/>
                <a:gd name="connsiteY35" fmla="*/ 624010 h 713039"/>
                <a:gd name="connsiteX36" fmla="*/ 143090 w 465947"/>
                <a:gd name="connsiteY36" fmla="*/ 619587 h 713039"/>
                <a:gd name="connsiteX37" fmla="*/ 261220 w 465947"/>
                <a:gd name="connsiteY37" fmla="*/ 619587 h 713039"/>
                <a:gd name="connsiteX38" fmla="*/ 271530 w 465947"/>
                <a:gd name="connsiteY38" fmla="*/ 609278 h 713039"/>
                <a:gd name="connsiteX39" fmla="*/ 261220 w 465947"/>
                <a:gd name="connsiteY39" fmla="*/ 598969 h 713039"/>
                <a:gd name="connsiteX40" fmla="*/ 143090 w 465947"/>
                <a:gd name="connsiteY40" fmla="*/ 598969 h 713039"/>
                <a:gd name="connsiteX41" fmla="*/ 143090 w 465947"/>
                <a:gd name="connsiteY41" fmla="*/ 570599 h 713039"/>
                <a:gd name="connsiteX42" fmla="*/ 172154 w 465947"/>
                <a:gd name="connsiteY42" fmla="*/ 570599 h 713039"/>
                <a:gd name="connsiteX43" fmla="*/ 182464 w 465947"/>
                <a:gd name="connsiteY43" fmla="*/ 560290 h 713039"/>
                <a:gd name="connsiteX44" fmla="*/ 172154 w 465947"/>
                <a:gd name="connsiteY44" fmla="*/ 549980 h 713039"/>
                <a:gd name="connsiteX45" fmla="*/ 143090 w 465947"/>
                <a:gd name="connsiteY45" fmla="*/ 549980 h 713039"/>
                <a:gd name="connsiteX46" fmla="*/ 143090 w 465947"/>
                <a:gd name="connsiteY46" fmla="*/ 523159 h 713039"/>
                <a:gd name="connsiteX47" fmla="*/ 322865 w 465947"/>
                <a:gd name="connsiteY47" fmla="*/ 523159 h 713039"/>
                <a:gd name="connsiteX48" fmla="*/ 322865 w 465947"/>
                <a:gd name="connsiteY48" fmla="*/ 549980 h 713039"/>
                <a:gd name="connsiteX49" fmla="*/ 207606 w 465947"/>
                <a:gd name="connsiteY49" fmla="*/ 549980 h 713039"/>
                <a:gd name="connsiteX50" fmla="*/ 197297 w 465947"/>
                <a:gd name="connsiteY50" fmla="*/ 560290 h 713039"/>
                <a:gd name="connsiteX51" fmla="*/ 207606 w 465947"/>
                <a:gd name="connsiteY51" fmla="*/ 570599 h 713039"/>
                <a:gd name="connsiteX52" fmla="*/ 322865 w 465947"/>
                <a:gd name="connsiteY52" fmla="*/ 570599 h 713039"/>
                <a:gd name="connsiteX53" fmla="*/ 322865 w 465947"/>
                <a:gd name="connsiteY53" fmla="*/ 598965 h 713039"/>
                <a:gd name="connsiteX54" fmla="*/ 296672 w 465947"/>
                <a:gd name="connsiteY54" fmla="*/ 598965 h 713039"/>
                <a:gd name="connsiteX55" fmla="*/ 286363 w 465947"/>
                <a:gd name="connsiteY55" fmla="*/ 609275 h 713039"/>
                <a:gd name="connsiteX56" fmla="*/ 296672 w 465947"/>
                <a:gd name="connsiteY56" fmla="*/ 619584 h 713039"/>
                <a:gd name="connsiteX57" fmla="*/ 322865 w 465947"/>
                <a:gd name="connsiteY57" fmla="*/ 619584 h 713039"/>
                <a:gd name="connsiteX58" fmla="*/ 322865 w 465947"/>
                <a:gd name="connsiteY58" fmla="*/ 624007 h 713039"/>
                <a:gd name="connsiteX59" fmla="*/ 298918 w 465947"/>
                <a:gd name="connsiteY59" fmla="*/ 647955 h 71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465947" h="713039">
                  <a:moveTo>
                    <a:pt x="75420" y="404594"/>
                  </a:moveTo>
                  <a:cubicBezTo>
                    <a:pt x="105530" y="432529"/>
                    <a:pt x="122589" y="471780"/>
                    <a:pt x="122472" y="512853"/>
                  </a:cubicBezTo>
                  <a:lnTo>
                    <a:pt x="122472" y="624010"/>
                  </a:lnTo>
                  <a:cubicBezTo>
                    <a:pt x="122501" y="648610"/>
                    <a:pt x="142436" y="668545"/>
                    <a:pt x="167036" y="668574"/>
                  </a:cubicBezTo>
                  <a:lnTo>
                    <a:pt x="222670" y="668574"/>
                  </a:lnTo>
                  <a:lnTo>
                    <a:pt x="222670" y="702731"/>
                  </a:lnTo>
                  <a:cubicBezTo>
                    <a:pt x="222670" y="708425"/>
                    <a:pt x="227285" y="713040"/>
                    <a:pt x="232980" y="713040"/>
                  </a:cubicBezTo>
                  <a:cubicBezTo>
                    <a:pt x="238674" y="713040"/>
                    <a:pt x="243289" y="708425"/>
                    <a:pt x="243289" y="702731"/>
                  </a:cubicBezTo>
                  <a:lnTo>
                    <a:pt x="243289" y="668574"/>
                  </a:lnTo>
                  <a:lnTo>
                    <a:pt x="298923" y="668574"/>
                  </a:lnTo>
                  <a:cubicBezTo>
                    <a:pt x="323525" y="668547"/>
                    <a:pt x="343460" y="648612"/>
                    <a:pt x="343489" y="624010"/>
                  </a:cubicBezTo>
                  <a:lnTo>
                    <a:pt x="343489" y="512695"/>
                  </a:lnTo>
                  <a:cubicBezTo>
                    <a:pt x="343791" y="471176"/>
                    <a:pt x="361269" y="431634"/>
                    <a:pt x="391771" y="403464"/>
                  </a:cubicBezTo>
                  <a:cubicBezTo>
                    <a:pt x="440617" y="357910"/>
                    <a:pt x="467595" y="293604"/>
                    <a:pt x="465870" y="226833"/>
                  </a:cubicBezTo>
                  <a:cubicBezTo>
                    <a:pt x="464679" y="177197"/>
                    <a:pt x="447498" y="129271"/>
                    <a:pt x="416881" y="90183"/>
                  </a:cubicBezTo>
                  <a:cubicBezTo>
                    <a:pt x="413385" y="85690"/>
                    <a:pt x="406907" y="84880"/>
                    <a:pt x="402414" y="88377"/>
                  </a:cubicBezTo>
                  <a:cubicBezTo>
                    <a:pt x="397921" y="91874"/>
                    <a:pt x="397111" y="98351"/>
                    <a:pt x="400608" y="102844"/>
                  </a:cubicBezTo>
                  <a:cubicBezTo>
                    <a:pt x="400611" y="102848"/>
                    <a:pt x="400613" y="102850"/>
                    <a:pt x="400615" y="102853"/>
                  </a:cubicBezTo>
                  <a:cubicBezTo>
                    <a:pt x="428514" y="138467"/>
                    <a:pt x="444170" y="182134"/>
                    <a:pt x="445258" y="227361"/>
                  </a:cubicBezTo>
                  <a:cubicBezTo>
                    <a:pt x="446823" y="288222"/>
                    <a:pt x="422230" y="346836"/>
                    <a:pt x="377707" y="388359"/>
                  </a:cubicBezTo>
                  <a:cubicBezTo>
                    <a:pt x="345645" y="418075"/>
                    <a:pt x="326149" y="458918"/>
                    <a:pt x="323202" y="502533"/>
                  </a:cubicBezTo>
                  <a:lnTo>
                    <a:pt x="142759" y="502533"/>
                  </a:lnTo>
                  <a:cubicBezTo>
                    <a:pt x="140240" y="459340"/>
                    <a:pt x="121107" y="418799"/>
                    <a:pt x="89367" y="389397"/>
                  </a:cubicBezTo>
                  <a:cubicBezTo>
                    <a:pt x="2976" y="310080"/>
                    <a:pt x="-2758" y="175747"/>
                    <a:pt x="76559" y="89356"/>
                  </a:cubicBezTo>
                  <a:cubicBezTo>
                    <a:pt x="116769" y="45560"/>
                    <a:pt x="173498" y="20627"/>
                    <a:pt x="232954" y="20619"/>
                  </a:cubicBezTo>
                  <a:cubicBezTo>
                    <a:pt x="233620" y="20619"/>
                    <a:pt x="234285" y="20619"/>
                    <a:pt x="234952" y="20619"/>
                  </a:cubicBezTo>
                  <a:cubicBezTo>
                    <a:pt x="280112" y="20954"/>
                    <a:pt x="323965" y="35815"/>
                    <a:pt x="360023" y="63004"/>
                  </a:cubicBezTo>
                  <a:cubicBezTo>
                    <a:pt x="364578" y="66420"/>
                    <a:pt x="371041" y="65497"/>
                    <a:pt x="374457" y="60942"/>
                  </a:cubicBezTo>
                  <a:cubicBezTo>
                    <a:pt x="377872" y="56387"/>
                    <a:pt x="376950" y="49925"/>
                    <a:pt x="372395" y="46509"/>
                  </a:cubicBezTo>
                  <a:cubicBezTo>
                    <a:pt x="332822" y="16678"/>
                    <a:pt x="284702" y="375"/>
                    <a:pt x="235146" y="10"/>
                  </a:cubicBezTo>
                  <a:cubicBezTo>
                    <a:pt x="234416" y="3"/>
                    <a:pt x="233686" y="0"/>
                    <a:pt x="232957" y="0"/>
                  </a:cubicBezTo>
                  <a:cubicBezTo>
                    <a:pt x="104289" y="10"/>
                    <a:pt x="-9" y="104324"/>
                    <a:pt x="0" y="232992"/>
                  </a:cubicBezTo>
                  <a:cubicBezTo>
                    <a:pt x="5" y="298229"/>
                    <a:pt x="27363" y="360475"/>
                    <a:pt x="75420" y="404594"/>
                  </a:cubicBezTo>
                  <a:close/>
                  <a:moveTo>
                    <a:pt x="298918" y="647955"/>
                  </a:moveTo>
                  <a:lnTo>
                    <a:pt x="167031" y="647955"/>
                  </a:lnTo>
                  <a:cubicBezTo>
                    <a:pt x="153814" y="647938"/>
                    <a:pt x="143106" y="637227"/>
                    <a:pt x="143090" y="624010"/>
                  </a:cubicBezTo>
                  <a:lnTo>
                    <a:pt x="143090" y="619587"/>
                  </a:lnTo>
                  <a:lnTo>
                    <a:pt x="261220" y="619587"/>
                  </a:lnTo>
                  <a:cubicBezTo>
                    <a:pt x="266914" y="619587"/>
                    <a:pt x="271530" y="614972"/>
                    <a:pt x="271530" y="609278"/>
                  </a:cubicBezTo>
                  <a:cubicBezTo>
                    <a:pt x="271530" y="603584"/>
                    <a:pt x="266914" y="598969"/>
                    <a:pt x="261220" y="598969"/>
                  </a:cubicBezTo>
                  <a:lnTo>
                    <a:pt x="143090" y="598969"/>
                  </a:lnTo>
                  <a:lnTo>
                    <a:pt x="143090" y="570599"/>
                  </a:lnTo>
                  <a:lnTo>
                    <a:pt x="172154" y="570599"/>
                  </a:lnTo>
                  <a:cubicBezTo>
                    <a:pt x="177848" y="570599"/>
                    <a:pt x="182464" y="565984"/>
                    <a:pt x="182464" y="560290"/>
                  </a:cubicBezTo>
                  <a:cubicBezTo>
                    <a:pt x="182464" y="554595"/>
                    <a:pt x="177848" y="549980"/>
                    <a:pt x="172154" y="549980"/>
                  </a:cubicBezTo>
                  <a:lnTo>
                    <a:pt x="143090" y="549980"/>
                  </a:lnTo>
                  <a:lnTo>
                    <a:pt x="143090" y="523159"/>
                  </a:lnTo>
                  <a:lnTo>
                    <a:pt x="322865" y="523159"/>
                  </a:lnTo>
                  <a:lnTo>
                    <a:pt x="322865" y="549980"/>
                  </a:lnTo>
                  <a:lnTo>
                    <a:pt x="207606" y="549980"/>
                  </a:lnTo>
                  <a:cubicBezTo>
                    <a:pt x="201912" y="549980"/>
                    <a:pt x="197297" y="554595"/>
                    <a:pt x="197297" y="560290"/>
                  </a:cubicBezTo>
                  <a:cubicBezTo>
                    <a:pt x="197297" y="565984"/>
                    <a:pt x="201912" y="570599"/>
                    <a:pt x="207606" y="570599"/>
                  </a:cubicBezTo>
                  <a:lnTo>
                    <a:pt x="322865" y="570599"/>
                  </a:lnTo>
                  <a:lnTo>
                    <a:pt x="322865" y="598965"/>
                  </a:lnTo>
                  <a:lnTo>
                    <a:pt x="296672" y="598965"/>
                  </a:lnTo>
                  <a:cubicBezTo>
                    <a:pt x="290978" y="598965"/>
                    <a:pt x="286363" y="603580"/>
                    <a:pt x="286363" y="609275"/>
                  </a:cubicBezTo>
                  <a:cubicBezTo>
                    <a:pt x="286363" y="614969"/>
                    <a:pt x="290978" y="619584"/>
                    <a:pt x="296672" y="619584"/>
                  </a:cubicBezTo>
                  <a:lnTo>
                    <a:pt x="322865" y="619584"/>
                  </a:lnTo>
                  <a:lnTo>
                    <a:pt x="322865" y="624007"/>
                  </a:lnTo>
                  <a:cubicBezTo>
                    <a:pt x="322851" y="637227"/>
                    <a:pt x="312138" y="647942"/>
                    <a:pt x="298918" y="647955"/>
                  </a:cubicBezTo>
                  <a:close/>
                </a:path>
              </a:pathLst>
            </a:custGeom>
            <a:solidFill>
              <a:srgbClr val="1E2755"/>
            </a:solidFill>
            <a:ln w="1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 dirty="0">
                <a:latin typeface="Objectivity Light" pitchFamily="2" charset="77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C88DFE70-0528-AA45-90E6-7F0DD30BAC81}"/>
                </a:ext>
              </a:extLst>
            </p:cNvPr>
            <p:cNvSpPr/>
            <p:nvPr/>
          </p:nvSpPr>
          <p:spPr>
            <a:xfrm>
              <a:off x="8104646" y="1501220"/>
              <a:ext cx="20618" cy="89127"/>
            </a:xfrm>
            <a:custGeom>
              <a:avLst/>
              <a:gdLst>
                <a:gd name="connsiteX0" fmla="*/ 10309 w 20618"/>
                <a:gd name="connsiteY0" fmla="*/ 89128 h 89127"/>
                <a:gd name="connsiteX1" fmla="*/ 20619 w 20618"/>
                <a:gd name="connsiteY1" fmla="*/ 78818 h 89127"/>
                <a:gd name="connsiteX2" fmla="*/ 20619 w 20618"/>
                <a:gd name="connsiteY2" fmla="*/ 10309 h 89127"/>
                <a:gd name="connsiteX3" fmla="*/ 10309 w 20618"/>
                <a:gd name="connsiteY3" fmla="*/ 0 h 89127"/>
                <a:gd name="connsiteX4" fmla="*/ 0 w 20618"/>
                <a:gd name="connsiteY4" fmla="*/ 10309 h 89127"/>
                <a:gd name="connsiteX5" fmla="*/ 0 w 20618"/>
                <a:gd name="connsiteY5" fmla="*/ 78818 h 89127"/>
                <a:gd name="connsiteX6" fmla="*/ 10309 w 20618"/>
                <a:gd name="connsiteY6" fmla="*/ 89128 h 8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618" h="89127">
                  <a:moveTo>
                    <a:pt x="10309" y="89128"/>
                  </a:moveTo>
                  <a:cubicBezTo>
                    <a:pt x="16004" y="89128"/>
                    <a:pt x="20619" y="84512"/>
                    <a:pt x="20619" y="78818"/>
                  </a:cubicBezTo>
                  <a:lnTo>
                    <a:pt x="20619" y="10309"/>
                  </a:lnTo>
                  <a:cubicBezTo>
                    <a:pt x="20619" y="4616"/>
                    <a:pt x="16004" y="0"/>
                    <a:pt x="10309" y="0"/>
                  </a:cubicBezTo>
                  <a:cubicBezTo>
                    <a:pt x="4615" y="0"/>
                    <a:pt x="0" y="4616"/>
                    <a:pt x="0" y="10309"/>
                  </a:cubicBezTo>
                  <a:lnTo>
                    <a:pt x="0" y="78818"/>
                  </a:lnTo>
                  <a:cubicBezTo>
                    <a:pt x="0" y="84512"/>
                    <a:pt x="4615" y="89128"/>
                    <a:pt x="10309" y="89128"/>
                  </a:cubicBezTo>
                  <a:close/>
                </a:path>
              </a:pathLst>
            </a:custGeom>
            <a:solidFill>
              <a:srgbClr val="1E2755"/>
            </a:solidFill>
            <a:ln w="1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 dirty="0">
                <a:latin typeface="Objectivity Light" pitchFamily="2" charset="77"/>
              </a:endParaRPr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229ABAE4-1B65-5C4B-9026-2FFDBA3B051A}"/>
                </a:ext>
              </a:extLst>
            </p:cNvPr>
            <p:cNvSpPr/>
            <p:nvPr/>
          </p:nvSpPr>
          <p:spPr>
            <a:xfrm>
              <a:off x="8354461" y="1827683"/>
              <a:ext cx="89131" cy="20618"/>
            </a:xfrm>
            <a:custGeom>
              <a:avLst/>
              <a:gdLst>
                <a:gd name="connsiteX0" fmla="*/ 10309 w 89131"/>
                <a:gd name="connsiteY0" fmla="*/ 0 h 20618"/>
                <a:gd name="connsiteX1" fmla="*/ 0 w 89131"/>
                <a:gd name="connsiteY1" fmla="*/ 10309 h 20618"/>
                <a:gd name="connsiteX2" fmla="*/ 10309 w 89131"/>
                <a:gd name="connsiteY2" fmla="*/ 20619 h 20618"/>
                <a:gd name="connsiteX3" fmla="*/ 78822 w 89131"/>
                <a:gd name="connsiteY3" fmla="*/ 20619 h 20618"/>
                <a:gd name="connsiteX4" fmla="*/ 89131 w 89131"/>
                <a:gd name="connsiteY4" fmla="*/ 10309 h 20618"/>
                <a:gd name="connsiteX5" fmla="*/ 78822 w 89131"/>
                <a:gd name="connsiteY5" fmla="*/ 0 h 20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131" h="20618">
                  <a:moveTo>
                    <a:pt x="10309" y="0"/>
                  </a:moveTo>
                  <a:cubicBezTo>
                    <a:pt x="4615" y="0"/>
                    <a:pt x="0" y="4615"/>
                    <a:pt x="0" y="10309"/>
                  </a:cubicBezTo>
                  <a:cubicBezTo>
                    <a:pt x="0" y="16004"/>
                    <a:pt x="4615" y="20619"/>
                    <a:pt x="10309" y="20619"/>
                  </a:cubicBezTo>
                  <a:lnTo>
                    <a:pt x="78822" y="20619"/>
                  </a:lnTo>
                  <a:cubicBezTo>
                    <a:pt x="84516" y="20619"/>
                    <a:pt x="89131" y="16004"/>
                    <a:pt x="89131" y="10309"/>
                  </a:cubicBezTo>
                  <a:cubicBezTo>
                    <a:pt x="89131" y="4615"/>
                    <a:pt x="84516" y="0"/>
                    <a:pt x="78822" y="0"/>
                  </a:cubicBezTo>
                  <a:close/>
                </a:path>
              </a:pathLst>
            </a:custGeom>
            <a:solidFill>
              <a:srgbClr val="1E2755"/>
            </a:solidFill>
            <a:ln w="1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 dirty="0">
                <a:latin typeface="Objectivity Light" pitchFamily="2" charset="77"/>
              </a:endParaRPr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C578B524-A8DC-DD43-BFE4-0C7415D1E440}"/>
                </a:ext>
              </a:extLst>
            </p:cNvPr>
            <p:cNvSpPr/>
            <p:nvPr/>
          </p:nvSpPr>
          <p:spPr>
            <a:xfrm>
              <a:off x="7770047" y="1827683"/>
              <a:ext cx="89131" cy="20618"/>
            </a:xfrm>
            <a:custGeom>
              <a:avLst/>
              <a:gdLst>
                <a:gd name="connsiteX0" fmla="*/ 10309 w 89131"/>
                <a:gd name="connsiteY0" fmla="*/ 20619 h 20618"/>
                <a:gd name="connsiteX1" fmla="*/ 78822 w 89131"/>
                <a:gd name="connsiteY1" fmla="*/ 20619 h 20618"/>
                <a:gd name="connsiteX2" fmla="*/ 89131 w 89131"/>
                <a:gd name="connsiteY2" fmla="*/ 10309 h 20618"/>
                <a:gd name="connsiteX3" fmla="*/ 78822 w 89131"/>
                <a:gd name="connsiteY3" fmla="*/ 0 h 20618"/>
                <a:gd name="connsiteX4" fmla="*/ 10309 w 89131"/>
                <a:gd name="connsiteY4" fmla="*/ 0 h 20618"/>
                <a:gd name="connsiteX5" fmla="*/ 0 w 89131"/>
                <a:gd name="connsiteY5" fmla="*/ 10309 h 20618"/>
                <a:gd name="connsiteX6" fmla="*/ 10309 w 89131"/>
                <a:gd name="connsiteY6" fmla="*/ 20619 h 20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131" h="20618">
                  <a:moveTo>
                    <a:pt x="10309" y="20619"/>
                  </a:moveTo>
                  <a:lnTo>
                    <a:pt x="78822" y="20619"/>
                  </a:lnTo>
                  <a:cubicBezTo>
                    <a:pt x="84516" y="20619"/>
                    <a:pt x="89131" y="16004"/>
                    <a:pt x="89131" y="10309"/>
                  </a:cubicBezTo>
                  <a:cubicBezTo>
                    <a:pt x="89131" y="4615"/>
                    <a:pt x="84516" y="0"/>
                    <a:pt x="78822" y="0"/>
                  </a:cubicBezTo>
                  <a:lnTo>
                    <a:pt x="10309" y="0"/>
                  </a:lnTo>
                  <a:cubicBezTo>
                    <a:pt x="4616" y="0"/>
                    <a:pt x="0" y="4615"/>
                    <a:pt x="0" y="10309"/>
                  </a:cubicBezTo>
                  <a:cubicBezTo>
                    <a:pt x="0" y="16004"/>
                    <a:pt x="4616" y="20619"/>
                    <a:pt x="10309" y="20619"/>
                  </a:cubicBezTo>
                  <a:close/>
                </a:path>
              </a:pathLst>
            </a:custGeom>
            <a:solidFill>
              <a:srgbClr val="1E2755"/>
            </a:solidFill>
            <a:ln w="17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SA" dirty="0">
                <a:latin typeface="Objectivity Light" pitchFamily="2" charset="77"/>
              </a:endParaRPr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437D1216-4684-B542-A10F-8B5548A57835}"/>
                </a:ext>
              </a:extLst>
            </p:cNvPr>
            <p:cNvSpPr/>
            <p:nvPr/>
          </p:nvSpPr>
          <p:spPr>
            <a:xfrm>
              <a:off x="7855633" y="1586802"/>
              <a:ext cx="74080" cy="74081"/>
            </a:xfrm>
            <a:custGeom>
              <a:avLst/>
              <a:gdLst>
                <a:gd name="connsiteX0" fmla="*/ 56480 w 74080"/>
                <a:gd name="connsiteY0" fmla="*/ 71062 h 74081"/>
                <a:gd name="connsiteX1" fmla="*/ 71061 w 74080"/>
                <a:gd name="connsiteY1" fmla="*/ 71063 h 74081"/>
                <a:gd name="connsiteX2" fmla="*/ 71061 w 74080"/>
                <a:gd name="connsiteY2" fmla="*/ 56482 h 74081"/>
                <a:gd name="connsiteX3" fmla="*/ 17600 w 74080"/>
                <a:gd name="connsiteY3" fmla="*/ 3020 h 74081"/>
                <a:gd name="connsiteX4" fmla="*/ 3019 w 74080"/>
                <a:gd name="connsiteY4" fmla="*/ 3020 h 74081"/>
                <a:gd name="connsiteX5" fmla="*/ 3019 w 74080"/>
                <a:gd name="connsiteY5" fmla="*/ 17601 h 74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0" h="74081">
                  <a:moveTo>
                    <a:pt x="56480" y="71062"/>
                  </a:moveTo>
                  <a:cubicBezTo>
                    <a:pt x="60506" y="75087"/>
                    <a:pt x="67034" y="75089"/>
                    <a:pt x="71061" y="71063"/>
                  </a:cubicBezTo>
                  <a:cubicBezTo>
                    <a:pt x="75087" y="67036"/>
                    <a:pt x="75087" y="60509"/>
                    <a:pt x="71061" y="56482"/>
                  </a:cubicBezTo>
                  <a:lnTo>
                    <a:pt x="17600" y="3020"/>
                  </a:lnTo>
                  <a:cubicBezTo>
                    <a:pt x="13574" y="-1007"/>
                    <a:pt x="7045" y="-1007"/>
                    <a:pt x="3019" y="3020"/>
                  </a:cubicBezTo>
                  <a:cubicBezTo>
                    <a:pt x="-1006" y="7046"/>
                    <a:pt x="-1006" y="13574"/>
                    <a:pt x="3019" y="17601"/>
                  </a:cubicBezTo>
                  <a:close/>
                </a:path>
              </a:pathLst>
            </a:custGeom>
            <a:solidFill>
              <a:srgbClr val="1E2755"/>
            </a:solidFill>
            <a:ln w="17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algn="r" defTabSz="914400" rtl="1" eaLnBrk="1" latinLnBrk="0" hangingPunct="1"/>
              <a:endParaRPr lang="en-SA" dirty="0">
                <a:latin typeface="Objectivity Light" pitchFamily="2" charset="77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7E3742C-360D-4175-BA15-8D0F5A59C962}"/>
              </a:ext>
            </a:extLst>
          </p:cNvPr>
          <p:cNvSpPr txBox="1"/>
          <p:nvPr/>
        </p:nvSpPr>
        <p:spPr>
          <a:xfrm>
            <a:off x="1590390" y="397268"/>
            <a:ext cx="5052071" cy="8052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0" i="0" dirty="0">
                <a:solidFill>
                  <a:srgbClr val="273470"/>
                </a:solidFill>
                <a:effectLst/>
                <a:latin typeface="Helvetica Neue"/>
              </a:rPr>
              <a:t>Exploratory Data Analysis</a:t>
            </a:r>
            <a:endParaRPr lang="ar-SA" sz="3200" dirty="0" err="1">
              <a:solidFill>
                <a:srgbClr val="273470"/>
              </a:solidFill>
              <a:latin typeface="Objectivity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593C87-182D-43CD-A385-56EC4ADB05D8}"/>
              </a:ext>
            </a:extLst>
          </p:cNvPr>
          <p:cNvSpPr txBox="1"/>
          <p:nvPr/>
        </p:nvSpPr>
        <p:spPr>
          <a:xfrm>
            <a:off x="232327" y="2837027"/>
            <a:ext cx="6238059" cy="23117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3EA798"/>
                </a:solidFill>
                <a:latin typeface="Objectivity"/>
              </a:rPr>
              <a:t>Observation</a:t>
            </a:r>
            <a:r>
              <a:rPr lang="en-US" sz="2000" dirty="0">
                <a:solidFill>
                  <a:srgbClr val="273370"/>
                </a:solidFill>
                <a:latin typeface="Objectivity"/>
              </a:rPr>
              <a:t>: we notice in the graph that the questions most common tweet type then answers.</a:t>
            </a:r>
            <a:endParaRPr lang="ar-SA" sz="2000" dirty="0" err="1">
              <a:solidFill>
                <a:srgbClr val="273370"/>
              </a:solidFill>
              <a:latin typeface="Objectivity"/>
            </a:endParaRPr>
          </a:p>
        </p:txBody>
      </p:sp>
      <p:pic>
        <p:nvPicPr>
          <p:cNvPr id="5" name="Picture 4" descr="Chart, pie chart&#10;&#10;Description automatically generated">
            <a:extLst>
              <a:ext uri="{FF2B5EF4-FFF2-40B4-BE49-F238E27FC236}">
                <a16:creationId xmlns:a16="http://schemas.microsoft.com/office/drawing/2014/main" id="{508846A3-44D0-4DC9-A735-77D2F22CBF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0387" y="1310733"/>
            <a:ext cx="5329519" cy="47390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7278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CB2F142-FB46-42AF-ACC5-8EE536AA6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8991" y="1544273"/>
            <a:ext cx="3452400" cy="1495794"/>
          </a:xfrm>
        </p:spPr>
        <p:txBody>
          <a:bodyPr/>
          <a:lstStyle/>
          <a:p>
            <a:r>
              <a:rPr lang="en-US" dirty="0"/>
              <a:t>Data Cleaning </a:t>
            </a:r>
            <a:endParaRPr lang="ar-S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16BB7A-16A2-4042-B7A8-3BB56187B8FF}"/>
              </a:ext>
            </a:extLst>
          </p:cNvPr>
          <p:cNvSpPr txBox="1"/>
          <p:nvPr/>
        </p:nvSpPr>
        <p:spPr>
          <a:xfrm>
            <a:off x="5270643" y="2395532"/>
            <a:ext cx="4191856" cy="21883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EA798"/>
                </a:solidFill>
                <a:latin typeface="Objectivity"/>
              </a:rPr>
              <a:t>Non- Arabic word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EA798"/>
                </a:solidFill>
                <a:latin typeface="Objectivity"/>
                <a:cs typeface="DIN Next LT Arabic Light" panose="020B0303020203050203" pitchFamily="34" charset="-78"/>
              </a:rPr>
              <a:t>Arabic stop words from tex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EA798"/>
                </a:solidFill>
                <a:latin typeface="Objectivity"/>
                <a:cs typeface="DIN Next LT Arabic Light" panose="020B0303020203050203" pitchFamily="34" charset="-78"/>
              </a:rPr>
              <a:t>Numb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EA798"/>
                </a:solidFill>
                <a:latin typeface="Objectivity"/>
              </a:rPr>
              <a:t>Emojis and replace it with “</a:t>
            </a:r>
            <a:r>
              <a:rPr lang="ar-SA" sz="2000" dirty="0">
                <a:solidFill>
                  <a:srgbClr val="3EA798"/>
                </a:solidFill>
                <a:latin typeface="Objectivity"/>
              </a:rPr>
              <a:t>"</a:t>
            </a:r>
            <a:r>
              <a:rPr lang="ar-SA" sz="2000" dirty="0" err="1">
                <a:solidFill>
                  <a:srgbClr val="3EA798"/>
                </a:solidFill>
                <a:latin typeface="Objectivity"/>
              </a:rPr>
              <a:t>ايموجي</a:t>
            </a:r>
            <a:endParaRPr lang="en-US" sz="2000" dirty="0">
              <a:solidFill>
                <a:srgbClr val="3EA798"/>
              </a:solidFill>
              <a:latin typeface="Objectivity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3EA798"/>
                </a:solidFill>
                <a:effectLst/>
                <a:latin typeface="Objectivity"/>
              </a:rPr>
              <a:t>Latin and special character: $#@</a:t>
            </a:r>
            <a:endParaRPr lang="ar-SA" sz="2000" dirty="0">
              <a:solidFill>
                <a:srgbClr val="3EA798"/>
              </a:solidFill>
              <a:latin typeface="Objectivity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69F0E7-DC1C-439A-98A1-9A41C867B4AA}"/>
              </a:ext>
            </a:extLst>
          </p:cNvPr>
          <p:cNvSpPr txBox="1"/>
          <p:nvPr/>
        </p:nvSpPr>
        <p:spPr>
          <a:xfrm>
            <a:off x="5537766" y="1752825"/>
            <a:ext cx="2774023" cy="8157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rgbClr val="273370"/>
                </a:solidFill>
                <a:latin typeface="Objectivity"/>
              </a:rPr>
              <a:t>We removed :</a:t>
            </a:r>
            <a:endParaRPr lang="ar-SA" sz="2400" dirty="0" err="1">
              <a:solidFill>
                <a:srgbClr val="273370"/>
              </a:solidFill>
              <a:latin typeface="Objectivity"/>
            </a:endParaRPr>
          </a:p>
        </p:txBody>
      </p:sp>
      <p:pic>
        <p:nvPicPr>
          <p:cNvPr id="84994" name="Picture 2" descr="Data cleaning">
            <a:extLst>
              <a:ext uri="{FF2B5EF4-FFF2-40B4-BE49-F238E27FC236}">
                <a16:creationId xmlns:a16="http://schemas.microsoft.com/office/drawing/2014/main" id="{D1B492FA-990A-422C-8689-2696471EFB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26" y="1182472"/>
            <a:ext cx="1386066" cy="1386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996" name="Picture 4" descr="Teamwork free icon">
            <a:extLst>
              <a:ext uri="{FF2B5EF4-FFF2-40B4-BE49-F238E27FC236}">
                <a16:creationId xmlns:a16="http://schemas.microsoft.com/office/drawing/2014/main" id="{91B6A7B0-5381-401B-9D2E-E00FE8643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207" y="1756950"/>
            <a:ext cx="517124" cy="51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0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CDA13-B68E-7C48-A248-C1148A6A4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18" y="2701838"/>
            <a:ext cx="3717881" cy="144892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eprocessing </a:t>
            </a:r>
            <a:endParaRPr lang="en-SA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5761E21-5C07-5E4C-83D2-F0B2341061A7}"/>
              </a:ext>
            </a:extLst>
          </p:cNvPr>
          <p:cNvGrpSpPr/>
          <p:nvPr/>
        </p:nvGrpSpPr>
        <p:grpSpPr>
          <a:xfrm>
            <a:off x="4957958" y="3712203"/>
            <a:ext cx="2402770" cy="2838854"/>
            <a:chOff x="4957958" y="3712203"/>
            <a:chExt cx="2402770" cy="2838854"/>
          </a:xfrm>
        </p:grpSpPr>
        <p:sp>
          <p:nvSpPr>
            <p:cNvPr id="88" name="Freeform: Shape 41">
              <a:extLst>
                <a:ext uri="{FF2B5EF4-FFF2-40B4-BE49-F238E27FC236}">
                  <a16:creationId xmlns:a16="http://schemas.microsoft.com/office/drawing/2014/main" id="{4F329C1E-2079-4546-88D9-969C6F7F98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17531" y="3925905"/>
              <a:ext cx="1452681" cy="1627200"/>
            </a:xfrm>
            <a:custGeom>
              <a:avLst/>
              <a:gdLst>
                <a:gd name="connsiteX0" fmla="*/ 998433 w 1997375"/>
                <a:gd name="connsiteY0" fmla="*/ 0 h 2235069"/>
                <a:gd name="connsiteX1" fmla="*/ 1111163 w 1997375"/>
                <a:gd name="connsiteY1" fmla="*/ 30048 h 2235069"/>
                <a:gd name="connsiteX2" fmla="*/ 1884560 w 1997375"/>
                <a:gd name="connsiteY2" fmla="*/ 476179 h 2235069"/>
                <a:gd name="connsiteX3" fmla="*/ 1997375 w 1997375"/>
                <a:gd name="connsiteY3" fmla="*/ 671064 h 2235069"/>
                <a:gd name="connsiteX4" fmla="*/ 1997375 w 1997375"/>
                <a:gd name="connsiteY4" fmla="*/ 1564005 h 2235069"/>
                <a:gd name="connsiteX5" fmla="*/ 1884560 w 1997375"/>
                <a:gd name="connsiteY5" fmla="*/ 1758212 h 2235069"/>
                <a:gd name="connsiteX6" fmla="*/ 1111163 w 1997375"/>
                <a:gd name="connsiteY6" fmla="*/ 2205022 h 2235069"/>
                <a:gd name="connsiteX7" fmla="*/ 886212 w 1997375"/>
                <a:gd name="connsiteY7" fmla="*/ 2205022 h 2235069"/>
                <a:gd name="connsiteX8" fmla="*/ 112136 w 1997375"/>
                <a:gd name="connsiteY8" fmla="*/ 1758212 h 2235069"/>
                <a:gd name="connsiteX9" fmla="*/ 0 w 1997375"/>
                <a:gd name="connsiteY9" fmla="*/ 1564005 h 2235069"/>
                <a:gd name="connsiteX10" fmla="*/ 0 w 1997375"/>
                <a:gd name="connsiteY10" fmla="*/ 671064 h 2235069"/>
                <a:gd name="connsiteX11" fmla="*/ 112136 w 1997375"/>
                <a:gd name="connsiteY11" fmla="*/ 476179 h 2235069"/>
                <a:gd name="connsiteX12" fmla="*/ 886212 w 1997375"/>
                <a:gd name="connsiteY12" fmla="*/ 30048 h 2235069"/>
                <a:gd name="connsiteX13" fmla="*/ 998433 w 1997375"/>
                <a:gd name="connsiteY13" fmla="*/ 0 h 223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7375" h="2235069">
                  <a:moveTo>
                    <a:pt x="998433" y="0"/>
                  </a:moveTo>
                  <a:cubicBezTo>
                    <a:pt x="1037256" y="0"/>
                    <a:pt x="1076163" y="10016"/>
                    <a:pt x="1111163" y="30048"/>
                  </a:cubicBezTo>
                  <a:lnTo>
                    <a:pt x="1884560" y="476179"/>
                  </a:lnTo>
                  <a:cubicBezTo>
                    <a:pt x="1954560" y="516921"/>
                    <a:pt x="1997375" y="590937"/>
                    <a:pt x="1997375" y="671064"/>
                  </a:cubicBezTo>
                  <a:lnTo>
                    <a:pt x="1997375" y="1564005"/>
                  </a:lnTo>
                  <a:cubicBezTo>
                    <a:pt x="1997375" y="1644132"/>
                    <a:pt x="1954560" y="1718148"/>
                    <a:pt x="1884560" y="1758212"/>
                  </a:cubicBezTo>
                  <a:lnTo>
                    <a:pt x="1111163" y="2205022"/>
                  </a:lnTo>
                  <a:cubicBezTo>
                    <a:pt x="1041163" y="2245085"/>
                    <a:pt x="955532" y="2245085"/>
                    <a:pt x="886212" y="2205022"/>
                  </a:cubicBezTo>
                  <a:lnTo>
                    <a:pt x="112136" y="1758212"/>
                  </a:lnTo>
                  <a:cubicBezTo>
                    <a:pt x="42816" y="1718148"/>
                    <a:pt x="0" y="1644132"/>
                    <a:pt x="0" y="1564005"/>
                  </a:cubicBezTo>
                  <a:lnTo>
                    <a:pt x="0" y="671064"/>
                  </a:lnTo>
                  <a:cubicBezTo>
                    <a:pt x="0" y="590937"/>
                    <a:pt x="42816" y="516921"/>
                    <a:pt x="112136" y="476179"/>
                  </a:cubicBezTo>
                  <a:lnTo>
                    <a:pt x="886212" y="30048"/>
                  </a:lnTo>
                  <a:cubicBezTo>
                    <a:pt x="920872" y="10016"/>
                    <a:pt x="959610" y="0"/>
                    <a:pt x="998433" y="0"/>
                  </a:cubicBezTo>
                  <a:close/>
                </a:path>
              </a:pathLst>
            </a:custGeom>
            <a:solidFill>
              <a:srgbClr val="E1E3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" tIns="64008" rIns="64008" bIns="64008" rtlCol="0" anchor="ctr"/>
            <a:lstStyle/>
            <a:p>
              <a:pPr marL="0" algn="ctr" defTabSz="914377" rtl="0" eaLnBrk="1" latinLnBrk="0" hangingPunct="1">
                <a:lnSpc>
                  <a:spcPct val="95000"/>
                </a:lnSpc>
              </a:pPr>
              <a:endParaRPr lang="en-US" sz="1260" kern="0" dirty="0">
                <a:solidFill>
                  <a:srgbClr val="FFFFFF"/>
                </a:solidFill>
                <a:latin typeface="Objectivity Light" pitchFamily="2" charset="77"/>
                <a:cs typeface="DIN Next LT Arabic Light" panose="020B0303020203050203" pitchFamily="34" charset="-78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934D61F-6FAB-8243-ABA6-AA0091099905}"/>
                </a:ext>
              </a:extLst>
            </p:cNvPr>
            <p:cNvGrpSpPr/>
            <p:nvPr/>
          </p:nvGrpSpPr>
          <p:grpSpPr>
            <a:xfrm flipH="1">
              <a:off x="4957958" y="3712203"/>
              <a:ext cx="2402770" cy="2838854"/>
              <a:chOff x="4782865" y="698284"/>
              <a:chExt cx="2294261" cy="2710652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27E04EEC-A76F-584A-AF2A-41982B83F40C}"/>
                  </a:ext>
                </a:extLst>
              </p:cNvPr>
              <p:cNvGrpSpPr/>
              <p:nvPr/>
            </p:nvGrpSpPr>
            <p:grpSpPr>
              <a:xfrm>
                <a:off x="4782865" y="698284"/>
                <a:ext cx="2294261" cy="2710652"/>
                <a:chOff x="3666150" y="556549"/>
                <a:chExt cx="3418026" cy="4038371"/>
              </a:xfrm>
            </p:grpSpPr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051A73EB-DFC4-914B-8DE9-4F416592EE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5111" y="556549"/>
                  <a:ext cx="2586622" cy="2894442"/>
                </a:xfrm>
                <a:custGeom>
                  <a:avLst/>
                  <a:gdLst>
                    <a:gd name="connsiteX0" fmla="*/ 998433 w 1997375"/>
                    <a:gd name="connsiteY0" fmla="*/ 0 h 2235069"/>
                    <a:gd name="connsiteX1" fmla="*/ 1111163 w 1997375"/>
                    <a:gd name="connsiteY1" fmla="*/ 30048 h 2235069"/>
                    <a:gd name="connsiteX2" fmla="*/ 1884560 w 1997375"/>
                    <a:gd name="connsiteY2" fmla="*/ 476179 h 2235069"/>
                    <a:gd name="connsiteX3" fmla="*/ 1997375 w 1997375"/>
                    <a:gd name="connsiteY3" fmla="*/ 671064 h 2235069"/>
                    <a:gd name="connsiteX4" fmla="*/ 1997375 w 1997375"/>
                    <a:gd name="connsiteY4" fmla="*/ 1564005 h 2235069"/>
                    <a:gd name="connsiteX5" fmla="*/ 1884560 w 1997375"/>
                    <a:gd name="connsiteY5" fmla="*/ 1758212 h 2235069"/>
                    <a:gd name="connsiteX6" fmla="*/ 1111163 w 1997375"/>
                    <a:gd name="connsiteY6" fmla="*/ 2205022 h 2235069"/>
                    <a:gd name="connsiteX7" fmla="*/ 886212 w 1997375"/>
                    <a:gd name="connsiteY7" fmla="*/ 2205022 h 2235069"/>
                    <a:gd name="connsiteX8" fmla="*/ 112136 w 1997375"/>
                    <a:gd name="connsiteY8" fmla="*/ 1758212 h 2235069"/>
                    <a:gd name="connsiteX9" fmla="*/ 0 w 1997375"/>
                    <a:gd name="connsiteY9" fmla="*/ 1564005 h 2235069"/>
                    <a:gd name="connsiteX10" fmla="*/ 0 w 1997375"/>
                    <a:gd name="connsiteY10" fmla="*/ 671064 h 2235069"/>
                    <a:gd name="connsiteX11" fmla="*/ 112136 w 1997375"/>
                    <a:gd name="connsiteY11" fmla="*/ 476179 h 2235069"/>
                    <a:gd name="connsiteX12" fmla="*/ 886212 w 1997375"/>
                    <a:gd name="connsiteY12" fmla="*/ 30048 h 2235069"/>
                    <a:gd name="connsiteX13" fmla="*/ 998433 w 1997375"/>
                    <a:gd name="connsiteY13" fmla="*/ 0 h 2235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97375" h="2235069">
                      <a:moveTo>
                        <a:pt x="998433" y="0"/>
                      </a:moveTo>
                      <a:cubicBezTo>
                        <a:pt x="1037256" y="0"/>
                        <a:pt x="1076163" y="10016"/>
                        <a:pt x="1111163" y="30048"/>
                      </a:cubicBezTo>
                      <a:lnTo>
                        <a:pt x="1884560" y="476179"/>
                      </a:lnTo>
                      <a:cubicBezTo>
                        <a:pt x="1954560" y="516921"/>
                        <a:pt x="1997375" y="590937"/>
                        <a:pt x="1997375" y="671064"/>
                      </a:cubicBezTo>
                      <a:lnTo>
                        <a:pt x="1997375" y="1564005"/>
                      </a:lnTo>
                      <a:cubicBezTo>
                        <a:pt x="1997375" y="1644132"/>
                        <a:pt x="1954560" y="1718148"/>
                        <a:pt x="1884560" y="1758212"/>
                      </a:cubicBezTo>
                      <a:lnTo>
                        <a:pt x="1111163" y="2205022"/>
                      </a:lnTo>
                      <a:cubicBezTo>
                        <a:pt x="1041163" y="2245085"/>
                        <a:pt x="955532" y="2245085"/>
                        <a:pt x="886212" y="2205022"/>
                      </a:cubicBezTo>
                      <a:lnTo>
                        <a:pt x="112136" y="1758212"/>
                      </a:lnTo>
                      <a:cubicBezTo>
                        <a:pt x="42816" y="1718148"/>
                        <a:pt x="0" y="1644132"/>
                        <a:pt x="0" y="1564005"/>
                      </a:cubicBezTo>
                      <a:lnTo>
                        <a:pt x="0" y="671064"/>
                      </a:lnTo>
                      <a:cubicBezTo>
                        <a:pt x="0" y="590937"/>
                        <a:pt x="42816" y="516921"/>
                        <a:pt x="112136" y="476179"/>
                      </a:cubicBezTo>
                      <a:lnTo>
                        <a:pt x="886212" y="30048"/>
                      </a:lnTo>
                      <a:cubicBezTo>
                        <a:pt x="920872" y="10016"/>
                        <a:pt x="959610" y="0"/>
                        <a:pt x="998433" y="0"/>
                      </a:cubicBezTo>
                      <a:close/>
                    </a:path>
                  </a:pathLst>
                </a:custGeom>
                <a:noFill/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4008" tIns="64008" rIns="64008" bIns="64008" rtlCol="0" anchor="ctr"/>
                <a:lstStyle/>
                <a:p>
                  <a:pPr marL="0" algn="ctr" defTabSz="914377" rtl="0" eaLnBrk="1" latinLnBrk="0" hangingPunct="1">
                    <a:lnSpc>
                      <a:spcPct val="95000"/>
                    </a:lnSpc>
                  </a:pPr>
                  <a:endParaRPr lang="en-US" sz="1260" kern="0" dirty="0">
                    <a:solidFill>
                      <a:srgbClr val="FFFFFF"/>
                    </a:solidFill>
                    <a:latin typeface="Objectivity Light" pitchFamily="2" charset="77"/>
                    <a:cs typeface="DIN Next LT Arabic Light" panose="020B0303020203050203" pitchFamily="34" charset="-78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B45C239C-E841-EB4E-9AF5-B61682D31953}"/>
                    </a:ext>
                  </a:extLst>
                </p:cNvPr>
                <p:cNvSpPr/>
                <p:nvPr/>
              </p:nvSpPr>
              <p:spPr>
                <a:xfrm>
                  <a:off x="3666150" y="3587927"/>
                  <a:ext cx="3418026" cy="100699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>
                    <a:spcBef>
                      <a:spcPts val="600"/>
                    </a:spcBef>
                    <a:spcAft>
                      <a:spcPts val="300"/>
                    </a:spcAft>
                    <a:defRPr/>
                  </a:pPr>
                  <a:r>
                    <a:rPr lang="en-US" sz="2000" dirty="0">
                      <a:solidFill>
                        <a:srgbClr val="3EA798"/>
                      </a:solidFill>
                      <a:latin typeface="Objectivity Light" pitchFamily="2" charset="77"/>
                      <a:cs typeface="DIN Next LT Arabic Light" panose="020B0303020203050203" pitchFamily="34" charset="-78"/>
                    </a:rPr>
                    <a:t>Convert emoji to text.</a:t>
                  </a:r>
                </a:p>
              </p:txBody>
            </p:sp>
          </p:grpSp>
          <p:sp>
            <p:nvSpPr>
              <p:cNvPr id="39" name="Oval 20">
                <a:extLst>
                  <a:ext uri="{FF2B5EF4-FFF2-40B4-BE49-F238E27FC236}">
                    <a16:creationId xmlns:a16="http://schemas.microsoft.com/office/drawing/2014/main" id="{72345E53-4C99-D148-82EF-0362ABF236C9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flipH="1">
                <a:off x="6379101" y="1015560"/>
                <a:ext cx="411190" cy="411190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rtl="1"/>
                <a:r>
                  <a:rPr lang="en-US" sz="2573" dirty="0">
                    <a:solidFill>
                      <a:schemeClr val="bg1"/>
                    </a:solidFill>
                    <a:latin typeface="Objectivity Light" pitchFamily="2" charset="77"/>
                  </a:rPr>
                  <a:t>3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7B5F983-2482-CF45-978A-07B4A9E154B0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5834472" y="4263201"/>
              <a:ext cx="1018800" cy="1018800"/>
              <a:chOff x="411067" y="1377840"/>
              <a:chExt cx="4413599" cy="4408732"/>
            </a:xfrm>
            <a:solidFill>
              <a:schemeClr val="tx2"/>
            </a:solidFill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3D853C71-7814-B14E-8EC6-9C42AB725B7B}"/>
                  </a:ext>
                </a:extLst>
              </p:cNvPr>
              <p:cNvGrpSpPr/>
              <p:nvPr/>
            </p:nvGrpSpPr>
            <p:grpSpPr>
              <a:xfrm>
                <a:off x="411067" y="1377840"/>
                <a:ext cx="4413599" cy="4408732"/>
                <a:chOff x="411067" y="1377840"/>
                <a:chExt cx="4413599" cy="4408732"/>
              </a:xfrm>
              <a:grpFill/>
            </p:grpSpPr>
            <p:sp>
              <p:nvSpPr>
                <p:cNvPr id="26" name="Freeform: Shape 52">
                  <a:extLst>
                    <a:ext uri="{FF2B5EF4-FFF2-40B4-BE49-F238E27FC236}">
                      <a16:creationId xmlns:a16="http://schemas.microsoft.com/office/drawing/2014/main" id="{7BAF0E41-D175-3449-BF2B-AFA6D3F3E9F5}"/>
                    </a:ext>
                  </a:extLst>
                </p:cNvPr>
                <p:cNvSpPr/>
                <p:nvPr/>
              </p:nvSpPr>
              <p:spPr>
                <a:xfrm>
                  <a:off x="3031051" y="1377840"/>
                  <a:ext cx="800100" cy="752475"/>
                </a:xfrm>
                <a:custGeom>
                  <a:avLst/>
                  <a:gdLst>
                    <a:gd name="connsiteX0" fmla="*/ 105 w 800100"/>
                    <a:gd name="connsiteY0" fmla="*/ 723824 h 752475"/>
                    <a:gd name="connsiteX1" fmla="*/ 38205 w 800100"/>
                    <a:gd name="connsiteY1" fmla="*/ 761924 h 752475"/>
                    <a:gd name="connsiteX2" fmla="*/ 76305 w 800100"/>
                    <a:gd name="connsiteY2" fmla="*/ 723824 h 752475"/>
                    <a:gd name="connsiteX3" fmla="*/ 76305 w 800100"/>
                    <a:gd name="connsiteY3" fmla="*/ 194281 h 752475"/>
                    <a:gd name="connsiteX4" fmla="*/ 497624 w 800100"/>
                    <a:gd name="connsiteY4" fmla="*/ 194281 h 752475"/>
                    <a:gd name="connsiteX5" fmla="*/ 648910 w 800100"/>
                    <a:gd name="connsiteY5" fmla="*/ 312353 h 752475"/>
                    <a:gd name="connsiteX6" fmla="*/ 805091 w 800100"/>
                    <a:gd name="connsiteY6" fmla="*/ 156153 h 752475"/>
                    <a:gd name="connsiteX7" fmla="*/ 648910 w 800100"/>
                    <a:gd name="connsiteY7" fmla="*/ 0 h 752475"/>
                    <a:gd name="connsiteX8" fmla="*/ 497624 w 800100"/>
                    <a:gd name="connsiteY8" fmla="*/ 117996 h 752475"/>
                    <a:gd name="connsiteX9" fmla="*/ 38100 w 800100"/>
                    <a:gd name="connsiteY9" fmla="*/ 117996 h 752475"/>
                    <a:gd name="connsiteX10" fmla="*/ 0 w 800100"/>
                    <a:gd name="connsiteY10" fmla="*/ 156096 h 752475"/>
                    <a:gd name="connsiteX11" fmla="*/ 0 w 800100"/>
                    <a:gd name="connsiteY11" fmla="*/ 714804 h 752475"/>
                    <a:gd name="connsiteX12" fmla="*/ 105 w 800100"/>
                    <a:gd name="connsiteY12" fmla="*/ 715823 h 752475"/>
                    <a:gd name="connsiteX13" fmla="*/ 105 w 800100"/>
                    <a:gd name="connsiteY13" fmla="*/ 723824 h 752475"/>
                    <a:gd name="connsiteX14" fmla="*/ 648910 w 800100"/>
                    <a:gd name="connsiteY14" fmla="*/ 76200 h 752475"/>
                    <a:gd name="connsiteX15" fmla="*/ 728891 w 800100"/>
                    <a:gd name="connsiteY15" fmla="*/ 156153 h 752475"/>
                    <a:gd name="connsiteX16" fmla="*/ 648910 w 800100"/>
                    <a:gd name="connsiteY16" fmla="*/ 236153 h 752475"/>
                    <a:gd name="connsiteX17" fmla="*/ 568919 w 800100"/>
                    <a:gd name="connsiteY17" fmla="*/ 156153 h 752475"/>
                    <a:gd name="connsiteX18" fmla="*/ 648910 w 800100"/>
                    <a:gd name="connsiteY18" fmla="*/ 76200 h 752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800100" h="752475">
                      <a:moveTo>
                        <a:pt x="105" y="723824"/>
                      </a:moveTo>
                      <a:cubicBezTo>
                        <a:pt x="105" y="744865"/>
                        <a:pt x="17164" y="761924"/>
                        <a:pt x="38205" y="761924"/>
                      </a:cubicBezTo>
                      <a:cubicBezTo>
                        <a:pt x="59246" y="761924"/>
                        <a:pt x="76305" y="744865"/>
                        <a:pt x="76305" y="723824"/>
                      </a:cubicBezTo>
                      <a:lnTo>
                        <a:pt x="76305" y="194281"/>
                      </a:lnTo>
                      <a:lnTo>
                        <a:pt x="497624" y="194281"/>
                      </a:lnTo>
                      <a:cubicBezTo>
                        <a:pt x="514712" y="262004"/>
                        <a:pt x="575967" y="312353"/>
                        <a:pt x="648910" y="312353"/>
                      </a:cubicBezTo>
                      <a:cubicBezTo>
                        <a:pt x="735035" y="312353"/>
                        <a:pt x="805091" y="242278"/>
                        <a:pt x="805091" y="156153"/>
                      </a:cubicBezTo>
                      <a:cubicBezTo>
                        <a:pt x="805091" y="70047"/>
                        <a:pt x="735035" y="0"/>
                        <a:pt x="648910" y="0"/>
                      </a:cubicBezTo>
                      <a:cubicBezTo>
                        <a:pt x="575967" y="0"/>
                        <a:pt x="514731" y="50311"/>
                        <a:pt x="497624" y="117996"/>
                      </a:cubicBezTo>
                      <a:lnTo>
                        <a:pt x="38100" y="117996"/>
                      </a:lnTo>
                      <a:cubicBezTo>
                        <a:pt x="17059" y="117996"/>
                        <a:pt x="0" y="135055"/>
                        <a:pt x="0" y="156096"/>
                      </a:cubicBezTo>
                      <a:lnTo>
                        <a:pt x="0" y="714804"/>
                      </a:lnTo>
                      <a:cubicBezTo>
                        <a:pt x="0" y="715147"/>
                        <a:pt x="95" y="715470"/>
                        <a:pt x="105" y="715823"/>
                      </a:cubicBezTo>
                      <a:lnTo>
                        <a:pt x="105" y="723824"/>
                      </a:lnTo>
                      <a:close/>
                      <a:moveTo>
                        <a:pt x="648910" y="76200"/>
                      </a:moveTo>
                      <a:cubicBezTo>
                        <a:pt x="693010" y="76200"/>
                        <a:pt x="728891" y="112062"/>
                        <a:pt x="728891" y="156153"/>
                      </a:cubicBezTo>
                      <a:cubicBezTo>
                        <a:pt x="728891" y="200263"/>
                        <a:pt x="693001" y="236153"/>
                        <a:pt x="648910" y="236153"/>
                      </a:cubicBezTo>
                      <a:cubicBezTo>
                        <a:pt x="604799" y="236153"/>
                        <a:pt x="568919" y="200263"/>
                        <a:pt x="568919" y="156153"/>
                      </a:cubicBezTo>
                      <a:cubicBezTo>
                        <a:pt x="568919" y="112062"/>
                        <a:pt x="604809" y="76200"/>
                        <a:pt x="648910" y="762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7" name="Freeform: Shape 53">
                  <a:extLst>
                    <a:ext uri="{FF2B5EF4-FFF2-40B4-BE49-F238E27FC236}">
                      <a16:creationId xmlns:a16="http://schemas.microsoft.com/office/drawing/2014/main" id="{D2A4F3C4-D516-9A4D-915C-6DF1F1F0FCCE}"/>
                    </a:ext>
                  </a:extLst>
                </p:cNvPr>
                <p:cNvSpPr/>
                <p:nvPr/>
              </p:nvSpPr>
              <p:spPr>
                <a:xfrm>
                  <a:off x="1480905" y="1653741"/>
                  <a:ext cx="723900" cy="476250"/>
                </a:xfrm>
                <a:custGeom>
                  <a:avLst/>
                  <a:gdLst>
                    <a:gd name="connsiteX0" fmla="*/ 156210 w 723900"/>
                    <a:gd name="connsiteY0" fmla="*/ 312430 h 476250"/>
                    <a:gd name="connsiteX1" fmla="*/ 307524 w 723900"/>
                    <a:gd name="connsiteY1" fmla="*/ 194348 h 476250"/>
                    <a:gd name="connsiteX2" fmla="*/ 656501 w 723900"/>
                    <a:gd name="connsiteY2" fmla="*/ 194348 h 476250"/>
                    <a:gd name="connsiteX3" fmla="*/ 656501 w 723900"/>
                    <a:gd name="connsiteY3" fmla="*/ 437521 h 476250"/>
                    <a:gd name="connsiteX4" fmla="*/ 656501 w 723900"/>
                    <a:gd name="connsiteY4" fmla="*/ 446446 h 476250"/>
                    <a:gd name="connsiteX5" fmla="*/ 694601 w 723900"/>
                    <a:gd name="connsiteY5" fmla="*/ 484546 h 476250"/>
                    <a:gd name="connsiteX6" fmla="*/ 732701 w 723900"/>
                    <a:gd name="connsiteY6" fmla="*/ 446446 h 476250"/>
                    <a:gd name="connsiteX7" fmla="*/ 732701 w 723900"/>
                    <a:gd name="connsiteY7" fmla="*/ 437521 h 476250"/>
                    <a:gd name="connsiteX8" fmla="*/ 732701 w 723900"/>
                    <a:gd name="connsiteY8" fmla="*/ 156248 h 476250"/>
                    <a:gd name="connsiteX9" fmla="*/ 694601 w 723900"/>
                    <a:gd name="connsiteY9" fmla="*/ 118148 h 476250"/>
                    <a:gd name="connsiteX10" fmla="*/ 307543 w 723900"/>
                    <a:gd name="connsiteY10" fmla="*/ 118148 h 476250"/>
                    <a:gd name="connsiteX11" fmla="*/ 156220 w 723900"/>
                    <a:gd name="connsiteY11" fmla="*/ 0 h 476250"/>
                    <a:gd name="connsiteX12" fmla="*/ 0 w 723900"/>
                    <a:gd name="connsiteY12" fmla="*/ 156220 h 476250"/>
                    <a:gd name="connsiteX13" fmla="*/ 156210 w 723900"/>
                    <a:gd name="connsiteY13" fmla="*/ 312430 h 476250"/>
                    <a:gd name="connsiteX14" fmla="*/ 156210 w 723900"/>
                    <a:gd name="connsiteY14" fmla="*/ 76190 h 476250"/>
                    <a:gd name="connsiteX15" fmla="*/ 236220 w 723900"/>
                    <a:gd name="connsiteY15" fmla="*/ 156210 h 476250"/>
                    <a:gd name="connsiteX16" fmla="*/ 156210 w 723900"/>
                    <a:gd name="connsiteY16" fmla="*/ 236220 h 476250"/>
                    <a:gd name="connsiteX17" fmla="*/ 76191 w 723900"/>
                    <a:gd name="connsiteY17" fmla="*/ 156210 h 476250"/>
                    <a:gd name="connsiteX18" fmla="*/ 156210 w 723900"/>
                    <a:gd name="connsiteY18" fmla="*/ 76190 h 476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23900" h="476250">
                      <a:moveTo>
                        <a:pt x="156210" y="312430"/>
                      </a:moveTo>
                      <a:cubicBezTo>
                        <a:pt x="229172" y="312430"/>
                        <a:pt x="290436" y="262071"/>
                        <a:pt x="307524" y="194348"/>
                      </a:cubicBezTo>
                      <a:lnTo>
                        <a:pt x="656501" y="194348"/>
                      </a:lnTo>
                      <a:lnTo>
                        <a:pt x="656501" y="437521"/>
                      </a:lnTo>
                      <a:lnTo>
                        <a:pt x="656501" y="446446"/>
                      </a:lnTo>
                      <a:cubicBezTo>
                        <a:pt x="656501" y="467487"/>
                        <a:pt x="673561" y="484546"/>
                        <a:pt x="694601" y="484546"/>
                      </a:cubicBezTo>
                      <a:cubicBezTo>
                        <a:pt x="715642" y="484546"/>
                        <a:pt x="732701" y="467487"/>
                        <a:pt x="732701" y="446446"/>
                      </a:cubicBezTo>
                      <a:lnTo>
                        <a:pt x="732701" y="437521"/>
                      </a:lnTo>
                      <a:lnTo>
                        <a:pt x="732701" y="156248"/>
                      </a:lnTo>
                      <a:cubicBezTo>
                        <a:pt x="732701" y="135207"/>
                        <a:pt x="715642" y="118148"/>
                        <a:pt x="694601" y="118148"/>
                      </a:cubicBezTo>
                      <a:lnTo>
                        <a:pt x="307543" y="118148"/>
                      </a:lnTo>
                      <a:cubicBezTo>
                        <a:pt x="290474" y="50387"/>
                        <a:pt x="229200" y="0"/>
                        <a:pt x="156220" y="0"/>
                      </a:cubicBezTo>
                      <a:cubicBezTo>
                        <a:pt x="70085" y="0"/>
                        <a:pt x="0" y="70075"/>
                        <a:pt x="0" y="156220"/>
                      </a:cubicBezTo>
                      <a:cubicBezTo>
                        <a:pt x="-9" y="242345"/>
                        <a:pt x="70076" y="312430"/>
                        <a:pt x="156210" y="312430"/>
                      </a:cubicBezTo>
                      <a:close/>
                      <a:moveTo>
                        <a:pt x="156210" y="76190"/>
                      </a:moveTo>
                      <a:cubicBezTo>
                        <a:pt x="200330" y="76190"/>
                        <a:pt x="236220" y="112090"/>
                        <a:pt x="236220" y="156210"/>
                      </a:cubicBezTo>
                      <a:cubicBezTo>
                        <a:pt x="236220" y="200330"/>
                        <a:pt x="200320" y="236220"/>
                        <a:pt x="156210" y="236220"/>
                      </a:cubicBezTo>
                      <a:cubicBezTo>
                        <a:pt x="112090" y="236220"/>
                        <a:pt x="76191" y="200320"/>
                        <a:pt x="76191" y="156210"/>
                      </a:cubicBezTo>
                      <a:cubicBezTo>
                        <a:pt x="76191" y="112090"/>
                        <a:pt x="112090" y="76190"/>
                        <a:pt x="156210" y="761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8" name="Freeform: Shape 54">
                  <a:extLst>
                    <a:ext uri="{FF2B5EF4-FFF2-40B4-BE49-F238E27FC236}">
                      <a16:creationId xmlns:a16="http://schemas.microsoft.com/office/drawing/2014/main" id="{E9BF62D8-444A-664B-A25E-3CD64E991225}"/>
                    </a:ext>
                  </a:extLst>
                </p:cNvPr>
                <p:cNvSpPr/>
                <p:nvPr/>
              </p:nvSpPr>
              <p:spPr>
                <a:xfrm>
                  <a:off x="2461132" y="1535659"/>
                  <a:ext cx="304800" cy="533400"/>
                </a:xfrm>
                <a:custGeom>
                  <a:avLst/>
                  <a:gdLst>
                    <a:gd name="connsiteX0" fmla="*/ 118139 w 304800"/>
                    <a:gd name="connsiteY0" fmla="*/ 307496 h 533400"/>
                    <a:gd name="connsiteX1" fmla="*/ 118139 w 304800"/>
                    <a:gd name="connsiteY1" fmla="*/ 487337 h 533400"/>
                    <a:gd name="connsiteX2" fmla="*/ 118139 w 304800"/>
                    <a:gd name="connsiteY2" fmla="*/ 496262 h 533400"/>
                    <a:gd name="connsiteX3" fmla="*/ 156239 w 304800"/>
                    <a:gd name="connsiteY3" fmla="*/ 534362 h 533400"/>
                    <a:gd name="connsiteX4" fmla="*/ 194339 w 304800"/>
                    <a:gd name="connsiteY4" fmla="*/ 496262 h 533400"/>
                    <a:gd name="connsiteX5" fmla="*/ 194339 w 304800"/>
                    <a:gd name="connsiteY5" fmla="*/ 487337 h 533400"/>
                    <a:gd name="connsiteX6" fmla="*/ 194339 w 304800"/>
                    <a:gd name="connsiteY6" fmla="*/ 307496 h 533400"/>
                    <a:gd name="connsiteX7" fmla="*/ 312410 w 304800"/>
                    <a:gd name="connsiteY7" fmla="*/ 156172 h 533400"/>
                    <a:gd name="connsiteX8" fmla="*/ 156239 w 304800"/>
                    <a:gd name="connsiteY8" fmla="*/ 0 h 533400"/>
                    <a:gd name="connsiteX9" fmla="*/ 0 w 304800"/>
                    <a:gd name="connsiteY9" fmla="*/ 156172 h 533400"/>
                    <a:gd name="connsiteX10" fmla="*/ 118139 w 304800"/>
                    <a:gd name="connsiteY10" fmla="*/ 307496 h 533400"/>
                    <a:gd name="connsiteX11" fmla="*/ 156239 w 304800"/>
                    <a:gd name="connsiteY11" fmla="*/ 76200 h 533400"/>
                    <a:gd name="connsiteX12" fmla="*/ 236210 w 304800"/>
                    <a:gd name="connsiteY12" fmla="*/ 156172 h 533400"/>
                    <a:gd name="connsiteX13" fmla="*/ 156239 w 304800"/>
                    <a:gd name="connsiteY13" fmla="*/ 236191 h 533400"/>
                    <a:gd name="connsiteX14" fmla="*/ 76200 w 304800"/>
                    <a:gd name="connsiteY14" fmla="*/ 156172 h 533400"/>
                    <a:gd name="connsiteX15" fmla="*/ 156239 w 304800"/>
                    <a:gd name="connsiteY15" fmla="*/ 76200 h 533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04800" h="533400">
                      <a:moveTo>
                        <a:pt x="118139" y="307496"/>
                      </a:moveTo>
                      <a:lnTo>
                        <a:pt x="118139" y="487337"/>
                      </a:lnTo>
                      <a:lnTo>
                        <a:pt x="118139" y="496262"/>
                      </a:lnTo>
                      <a:cubicBezTo>
                        <a:pt x="118139" y="517303"/>
                        <a:pt x="135198" y="534362"/>
                        <a:pt x="156239" y="534362"/>
                      </a:cubicBezTo>
                      <a:cubicBezTo>
                        <a:pt x="177279" y="534362"/>
                        <a:pt x="194339" y="517303"/>
                        <a:pt x="194339" y="496262"/>
                      </a:cubicBezTo>
                      <a:lnTo>
                        <a:pt x="194339" y="487337"/>
                      </a:lnTo>
                      <a:lnTo>
                        <a:pt x="194339" y="307496"/>
                      </a:lnTo>
                      <a:cubicBezTo>
                        <a:pt x="262061" y="290417"/>
                        <a:pt x="312410" y="229143"/>
                        <a:pt x="312410" y="156172"/>
                      </a:cubicBezTo>
                      <a:cubicBezTo>
                        <a:pt x="312410" y="70056"/>
                        <a:pt x="242354" y="0"/>
                        <a:pt x="156239" y="0"/>
                      </a:cubicBezTo>
                      <a:cubicBezTo>
                        <a:pt x="70094" y="0"/>
                        <a:pt x="0" y="70056"/>
                        <a:pt x="0" y="156172"/>
                      </a:cubicBezTo>
                      <a:cubicBezTo>
                        <a:pt x="0" y="229152"/>
                        <a:pt x="50378" y="290427"/>
                        <a:pt x="118139" y="307496"/>
                      </a:cubicBezTo>
                      <a:close/>
                      <a:moveTo>
                        <a:pt x="156239" y="76200"/>
                      </a:moveTo>
                      <a:cubicBezTo>
                        <a:pt x="200330" y="76200"/>
                        <a:pt x="236210" y="112081"/>
                        <a:pt x="236210" y="156172"/>
                      </a:cubicBezTo>
                      <a:cubicBezTo>
                        <a:pt x="236210" y="200292"/>
                        <a:pt x="200330" y="236191"/>
                        <a:pt x="156239" y="236191"/>
                      </a:cubicBezTo>
                      <a:cubicBezTo>
                        <a:pt x="112109" y="236191"/>
                        <a:pt x="76200" y="200292"/>
                        <a:pt x="76200" y="156172"/>
                      </a:cubicBezTo>
                      <a:cubicBezTo>
                        <a:pt x="76200" y="112071"/>
                        <a:pt x="112109" y="76200"/>
                        <a:pt x="156239" y="762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9" name="Freeform: Shape 55">
                  <a:extLst>
                    <a:ext uri="{FF2B5EF4-FFF2-40B4-BE49-F238E27FC236}">
                      <a16:creationId xmlns:a16="http://schemas.microsoft.com/office/drawing/2014/main" id="{82D96F4D-6F41-2145-BF6D-A50553BE084F}"/>
                    </a:ext>
                  </a:extLst>
                </p:cNvPr>
                <p:cNvSpPr/>
                <p:nvPr/>
              </p:nvSpPr>
              <p:spPr>
                <a:xfrm>
                  <a:off x="1404029" y="4872172"/>
                  <a:ext cx="800100" cy="914400"/>
                </a:xfrm>
                <a:custGeom>
                  <a:avLst/>
                  <a:gdLst>
                    <a:gd name="connsiteX0" fmla="*/ 766905 w 800100"/>
                    <a:gd name="connsiteY0" fmla="*/ 0 h 914400"/>
                    <a:gd name="connsiteX1" fmla="*/ 728805 w 800100"/>
                    <a:gd name="connsiteY1" fmla="*/ 38100 h 914400"/>
                    <a:gd name="connsiteX2" fmla="*/ 728805 w 800100"/>
                    <a:gd name="connsiteY2" fmla="*/ 729348 h 914400"/>
                    <a:gd name="connsiteX3" fmla="*/ 307458 w 800100"/>
                    <a:gd name="connsiteY3" fmla="*/ 729348 h 914400"/>
                    <a:gd name="connsiteX4" fmla="*/ 156172 w 800100"/>
                    <a:gd name="connsiteY4" fmla="*/ 611248 h 914400"/>
                    <a:gd name="connsiteX5" fmla="*/ 0 w 800100"/>
                    <a:gd name="connsiteY5" fmla="*/ 767477 h 914400"/>
                    <a:gd name="connsiteX6" fmla="*/ 156172 w 800100"/>
                    <a:gd name="connsiteY6" fmla="*/ 923649 h 914400"/>
                    <a:gd name="connsiteX7" fmla="*/ 307448 w 800100"/>
                    <a:gd name="connsiteY7" fmla="*/ 805644 h 914400"/>
                    <a:gd name="connsiteX8" fmla="*/ 766905 w 800100"/>
                    <a:gd name="connsiteY8" fmla="*/ 805644 h 914400"/>
                    <a:gd name="connsiteX9" fmla="*/ 805005 w 800100"/>
                    <a:gd name="connsiteY9" fmla="*/ 767448 h 914400"/>
                    <a:gd name="connsiteX10" fmla="*/ 805005 w 800100"/>
                    <a:gd name="connsiteY10" fmla="*/ 38100 h 914400"/>
                    <a:gd name="connsiteX11" fmla="*/ 766905 w 800100"/>
                    <a:gd name="connsiteY11" fmla="*/ 0 h 914400"/>
                    <a:gd name="connsiteX12" fmla="*/ 156172 w 800100"/>
                    <a:gd name="connsiteY12" fmla="*/ 847449 h 914400"/>
                    <a:gd name="connsiteX13" fmla="*/ 76200 w 800100"/>
                    <a:gd name="connsiteY13" fmla="*/ 767477 h 914400"/>
                    <a:gd name="connsiteX14" fmla="*/ 156172 w 800100"/>
                    <a:gd name="connsiteY14" fmla="*/ 687448 h 914400"/>
                    <a:gd name="connsiteX15" fmla="*/ 236153 w 800100"/>
                    <a:gd name="connsiteY15" fmla="*/ 767477 h 914400"/>
                    <a:gd name="connsiteX16" fmla="*/ 156172 w 800100"/>
                    <a:gd name="connsiteY16" fmla="*/ 847449 h 914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0100" h="914400">
                      <a:moveTo>
                        <a:pt x="766905" y="0"/>
                      </a:moveTo>
                      <a:cubicBezTo>
                        <a:pt x="745865" y="0"/>
                        <a:pt x="728805" y="17059"/>
                        <a:pt x="728805" y="38100"/>
                      </a:cubicBezTo>
                      <a:lnTo>
                        <a:pt x="728805" y="729348"/>
                      </a:lnTo>
                      <a:lnTo>
                        <a:pt x="307458" y="729348"/>
                      </a:lnTo>
                      <a:cubicBezTo>
                        <a:pt x="290379" y="661606"/>
                        <a:pt x="229124" y="611248"/>
                        <a:pt x="156172" y="611248"/>
                      </a:cubicBezTo>
                      <a:cubicBezTo>
                        <a:pt x="70056" y="611248"/>
                        <a:pt x="0" y="681333"/>
                        <a:pt x="0" y="767477"/>
                      </a:cubicBezTo>
                      <a:cubicBezTo>
                        <a:pt x="0" y="853583"/>
                        <a:pt x="70056" y="923649"/>
                        <a:pt x="156172" y="923649"/>
                      </a:cubicBezTo>
                      <a:cubicBezTo>
                        <a:pt x="229105" y="923649"/>
                        <a:pt x="290341" y="873328"/>
                        <a:pt x="307448" y="805644"/>
                      </a:cubicBezTo>
                      <a:lnTo>
                        <a:pt x="766905" y="805644"/>
                      </a:lnTo>
                      <a:cubicBezTo>
                        <a:pt x="787946" y="805644"/>
                        <a:pt x="805005" y="788489"/>
                        <a:pt x="805005" y="767448"/>
                      </a:cubicBezTo>
                      <a:lnTo>
                        <a:pt x="805005" y="38100"/>
                      </a:lnTo>
                      <a:cubicBezTo>
                        <a:pt x="805005" y="17059"/>
                        <a:pt x="787946" y="0"/>
                        <a:pt x="766905" y="0"/>
                      </a:cubicBezTo>
                      <a:close/>
                      <a:moveTo>
                        <a:pt x="156172" y="847449"/>
                      </a:moveTo>
                      <a:cubicBezTo>
                        <a:pt x="112071" y="847449"/>
                        <a:pt x="76200" y="811568"/>
                        <a:pt x="76200" y="767477"/>
                      </a:cubicBezTo>
                      <a:cubicBezTo>
                        <a:pt x="76200" y="723347"/>
                        <a:pt x="112081" y="687448"/>
                        <a:pt x="156172" y="687448"/>
                      </a:cubicBezTo>
                      <a:cubicBezTo>
                        <a:pt x="200273" y="687448"/>
                        <a:pt x="236153" y="723357"/>
                        <a:pt x="236153" y="767477"/>
                      </a:cubicBezTo>
                      <a:cubicBezTo>
                        <a:pt x="236163" y="811568"/>
                        <a:pt x="200273" y="847449"/>
                        <a:pt x="156172" y="8474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0" name="Freeform: Shape 56">
                  <a:extLst>
                    <a:ext uri="{FF2B5EF4-FFF2-40B4-BE49-F238E27FC236}">
                      <a16:creationId xmlns:a16="http://schemas.microsoft.com/office/drawing/2014/main" id="{604B4145-FD41-A144-8EC6-2BC7F3008598}"/>
                    </a:ext>
                  </a:extLst>
                </p:cNvPr>
                <p:cNvSpPr/>
                <p:nvPr/>
              </p:nvSpPr>
              <p:spPr>
                <a:xfrm>
                  <a:off x="3026460" y="4873686"/>
                  <a:ext cx="723900" cy="638175"/>
                </a:xfrm>
                <a:custGeom>
                  <a:avLst/>
                  <a:gdLst>
                    <a:gd name="connsiteX0" fmla="*/ 576615 w 723900"/>
                    <a:gd name="connsiteY0" fmla="*/ 333794 h 638175"/>
                    <a:gd name="connsiteX1" fmla="*/ 425282 w 723900"/>
                    <a:gd name="connsiteY1" fmla="*/ 451866 h 638175"/>
                    <a:gd name="connsiteX2" fmla="*/ 76295 w 723900"/>
                    <a:gd name="connsiteY2" fmla="*/ 451866 h 638175"/>
                    <a:gd name="connsiteX3" fmla="*/ 76295 w 723900"/>
                    <a:gd name="connsiteY3" fmla="*/ 38100 h 638175"/>
                    <a:gd name="connsiteX4" fmla="*/ 38195 w 723900"/>
                    <a:gd name="connsiteY4" fmla="*/ 0 h 638175"/>
                    <a:gd name="connsiteX5" fmla="*/ 38148 w 723900"/>
                    <a:gd name="connsiteY5" fmla="*/ 0 h 638175"/>
                    <a:gd name="connsiteX6" fmla="*/ 38100 w 723900"/>
                    <a:gd name="connsiteY6" fmla="*/ 0 h 638175"/>
                    <a:gd name="connsiteX7" fmla="*/ 0 w 723900"/>
                    <a:gd name="connsiteY7" fmla="*/ 38100 h 638175"/>
                    <a:gd name="connsiteX8" fmla="*/ 0 w 723900"/>
                    <a:gd name="connsiteY8" fmla="*/ 489966 h 638175"/>
                    <a:gd name="connsiteX9" fmla="*/ 6172 w 723900"/>
                    <a:gd name="connsiteY9" fmla="*/ 510588 h 638175"/>
                    <a:gd name="connsiteX10" fmla="*/ 6525 w 723900"/>
                    <a:gd name="connsiteY10" fmla="*/ 511226 h 638175"/>
                    <a:gd name="connsiteX11" fmla="*/ 7429 w 723900"/>
                    <a:gd name="connsiteY11" fmla="*/ 512331 h 638175"/>
                    <a:gd name="connsiteX12" fmla="*/ 11258 w 723900"/>
                    <a:gd name="connsiteY12" fmla="*/ 517007 h 638175"/>
                    <a:gd name="connsiteX13" fmla="*/ 38195 w 723900"/>
                    <a:gd name="connsiteY13" fmla="*/ 528161 h 638175"/>
                    <a:gd name="connsiteX14" fmla="*/ 38205 w 723900"/>
                    <a:gd name="connsiteY14" fmla="*/ 528161 h 638175"/>
                    <a:gd name="connsiteX15" fmla="*/ 425253 w 723900"/>
                    <a:gd name="connsiteY15" fmla="*/ 528066 h 638175"/>
                    <a:gd name="connsiteX16" fmla="*/ 576605 w 723900"/>
                    <a:gd name="connsiteY16" fmla="*/ 646214 h 638175"/>
                    <a:gd name="connsiteX17" fmla="*/ 732777 w 723900"/>
                    <a:gd name="connsiteY17" fmla="*/ 490004 h 638175"/>
                    <a:gd name="connsiteX18" fmla="*/ 576615 w 723900"/>
                    <a:gd name="connsiteY18" fmla="*/ 333794 h 638175"/>
                    <a:gd name="connsiteX19" fmla="*/ 576615 w 723900"/>
                    <a:gd name="connsiteY19" fmla="*/ 570024 h 638175"/>
                    <a:gd name="connsiteX20" fmla="*/ 496576 w 723900"/>
                    <a:gd name="connsiteY20" fmla="*/ 490023 h 638175"/>
                    <a:gd name="connsiteX21" fmla="*/ 576615 w 723900"/>
                    <a:gd name="connsiteY21" fmla="*/ 410004 h 638175"/>
                    <a:gd name="connsiteX22" fmla="*/ 656587 w 723900"/>
                    <a:gd name="connsiteY22" fmla="*/ 490014 h 638175"/>
                    <a:gd name="connsiteX23" fmla="*/ 576615 w 723900"/>
                    <a:gd name="connsiteY23" fmla="*/ 570024 h 638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723900" h="638175">
                      <a:moveTo>
                        <a:pt x="576615" y="333794"/>
                      </a:moveTo>
                      <a:cubicBezTo>
                        <a:pt x="503653" y="333794"/>
                        <a:pt x="442388" y="384143"/>
                        <a:pt x="425282" y="451866"/>
                      </a:cubicBezTo>
                      <a:lnTo>
                        <a:pt x="76295" y="451866"/>
                      </a:lnTo>
                      <a:lnTo>
                        <a:pt x="76295" y="38100"/>
                      </a:lnTo>
                      <a:cubicBezTo>
                        <a:pt x="76295" y="17059"/>
                        <a:pt x="59236" y="0"/>
                        <a:pt x="38195" y="0"/>
                      </a:cubicBezTo>
                      <a:cubicBezTo>
                        <a:pt x="38176" y="0"/>
                        <a:pt x="38167" y="0"/>
                        <a:pt x="38148" y="0"/>
                      </a:cubicBezTo>
                      <a:cubicBezTo>
                        <a:pt x="38128" y="0"/>
                        <a:pt x="38119" y="0"/>
                        <a:pt x="38100" y="0"/>
                      </a:cubicBezTo>
                      <a:cubicBezTo>
                        <a:pt x="17059" y="0"/>
                        <a:pt x="0" y="17059"/>
                        <a:pt x="0" y="38100"/>
                      </a:cubicBezTo>
                      <a:lnTo>
                        <a:pt x="0" y="489966"/>
                      </a:lnTo>
                      <a:cubicBezTo>
                        <a:pt x="0" y="497586"/>
                        <a:pt x="2305" y="504635"/>
                        <a:pt x="6172" y="510588"/>
                      </a:cubicBezTo>
                      <a:cubicBezTo>
                        <a:pt x="6305" y="510797"/>
                        <a:pt x="6382" y="511026"/>
                        <a:pt x="6525" y="511226"/>
                      </a:cubicBezTo>
                      <a:cubicBezTo>
                        <a:pt x="6791" y="511626"/>
                        <a:pt x="7144" y="511950"/>
                        <a:pt x="7429" y="512331"/>
                      </a:cubicBezTo>
                      <a:cubicBezTo>
                        <a:pt x="8611" y="513960"/>
                        <a:pt x="9820" y="515569"/>
                        <a:pt x="11258" y="517007"/>
                      </a:cubicBezTo>
                      <a:cubicBezTo>
                        <a:pt x="18402" y="524151"/>
                        <a:pt x="28099" y="528161"/>
                        <a:pt x="38195" y="528161"/>
                      </a:cubicBezTo>
                      <a:lnTo>
                        <a:pt x="38205" y="528161"/>
                      </a:lnTo>
                      <a:lnTo>
                        <a:pt x="425253" y="528066"/>
                      </a:lnTo>
                      <a:cubicBezTo>
                        <a:pt x="442322" y="595827"/>
                        <a:pt x="503606" y="646214"/>
                        <a:pt x="576605" y="646214"/>
                      </a:cubicBezTo>
                      <a:cubicBezTo>
                        <a:pt x="662721" y="646214"/>
                        <a:pt x="732777" y="576139"/>
                        <a:pt x="732777" y="490004"/>
                      </a:cubicBezTo>
                      <a:cubicBezTo>
                        <a:pt x="732777" y="403870"/>
                        <a:pt x="662731" y="333794"/>
                        <a:pt x="576615" y="333794"/>
                      </a:cubicBezTo>
                      <a:close/>
                      <a:moveTo>
                        <a:pt x="576615" y="570024"/>
                      </a:moveTo>
                      <a:cubicBezTo>
                        <a:pt x="532476" y="570024"/>
                        <a:pt x="496576" y="534124"/>
                        <a:pt x="496576" y="490023"/>
                      </a:cubicBezTo>
                      <a:cubicBezTo>
                        <a:pt x="496586" y="445894"/>
                        <a:pt x="532495" y="410004"/>
                        <a:pt x="576615" y="410004"/>
                      </a:cubicBezTo>
                      <a:cubicBezTo>
                        <a:pt x="620716" y="410004"/>
                        <a:pt x="656587" y="445903"/>
                        <a:pt x="656587" y="490014"/>
                      </a:cubicBezTo>
                      <a:cubicBezTo>
                        <a:pt x="656587" y="534124"/>
                        <a:pt x="620716" y="570024"/>
                        <a:pt x="576615" y="57002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1" name="Freeform: Shape 57">
                  <a:extLst>
                    <a:ext uri="{FF2B5EF4-FFF2-40B4-BE49-F238E27FC236}">
                      <a16:creationId xmlns:a16="http://schemas.microsoft.com/office/drawing/2014/main" id="{230E861F-FB65-C74D-A633-33EE80D06084}"/>
                    </a:ext>
                  </a:extLst>
                </p:cNvPr>
                <p:cNvSpPr/>
                <p:nvPr/>
              </p:nvSpPr>
              <p:spPr>
                <a:xfrm>
                  <a:off x="2466628" y="4941904"/>
                  <a:ext cx="304800" cy="695325"/>
                </a:xfrm>
                <a:custGeom>
                  <a:avLst/>
                  <a:gdLst>
                    <a:gd name="connsiteX0" fmla="*/ 194291 w 304800"/>
                    <a:gd name="connsiteY0" fmla="*/ 388582 h 695325"/>
                    <a:gd name="connsiteX1" fmla="*/ 194291 w 304800"/>
                    <a:gd name="connsiteY1" fmla="*/ 38100 h 695325"/>
                    <a:gd name="connsiteX2" fmla="*/ 156191 w 304800"/>
                    <a:gd name="connsiteY2" fmla="*/ 0 h 695325"/>
                    <a:gd name="connsiteX3" fmla="*/ 118091 w 304800"/>
                    <a:gd name="connsiteY3" fmla="*/ 38100 h 695325"/>
                    <a:gd name="connsiteX4" fmla="*/ 118091 w 304800"/>
                    <a:gd name="connsiteY4" fmla="*/ 388534 h 695325"/>
                    <a:gd name="connsiteX5" fmla="*/ 45739 w 304800"/>
                    <a:gd name="connsiteY5" fmla="*/ 429435 h 695325"/>
                    <a:gd name="connsiteX6" fmla="*/ 0 w 304800"/>
                    <a:gd name="connsiteY6" fmla="*/ 539905 h 695325"/>
                    <a:gd name="connsiteX7" fmla="*/ 156191 w 304800"/>
                    <a:gd name="connsiteY7" fmla="*/ 696087 h 695325"/>
                    <a:gd name="connsiteX8" fmla="*/ 312382 w 304800"/>
                    <a:gd name="connsiteY8" fmla="*/ 539905 h 695325"/>
                    <a:gd name="connsiteX9" fmla="*/ 194291 w 304800"/>
                    <a:gd name="connsiteY9" fmla="*/ 388582 h 695325"/>
                    <a:gd name="connsiteX10" fmla="*/ 156191 w 304800"/>
                    <a:gd name="connsiteY10" fmla="*/ 619887 h 695325"/>
                    <a:gd name="connsiteX11" fmla="*/ 76200 w 304800"/>
                    <a:gd name="connsiteY11" fmla="*/ 539896 h 695325"/>
                    <a:gd name="connsiteX12" fmla="*/ 99622 w 304800"/>
                    <a:gd name="connsiteY12" fmla="*/ 483327 h 695325"/>
                    <a:gd name="connsiteX13" fmla="*/ 156134 w 304800"/>
                    <a:gd name="connsiteY13" fmla="*/ 459895 h 695325"/>
                    <a:gd name="connsiteX14" fmla="*/ 156201 w 304800"/>
                    <a:gd name="connsiteY14" fmla="*/ 459905 h 695325"/>
                    <a:gd name="connsiteX15" fmla="*/ 156258 w 304800"/>
                    <a:gd name="connsiteY15" fmla="*/ 459895 h 695325"/>
                    <a:gd name="connsiteX16" fmla="*/ 236192 w 304800"/>
                    <a:gd name="connsiteY16" fmla="*/ 539905 h 695325"/>
                    <a:gd name="connsiteX17" fmla="*/ 156191 w 304800"/>
                    <a:gd name="connsiteY17" fmla="*/ 619887 h 69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04800" h="695325">
                      <a:moveTo>
                        <a:pt x="194291" y="388582"/>
                      </a:moveTo>
                      <a:lnTo>
                        <a:pt x="194291" y="38100"/>
                      </a:lnTo>
                      <a:cubicBezTo>
                        <a:pt x="194291" y="17059"/>
                        <a:pt x="177232" y="0"/>
                        <a:pt x="156191" y="0"/>
                      </a:cubicBezTo>
                      <a:cubicBezTo>
                        <a:pt x="135150" y="0"/>
                        <a:pt x="118091" y="17059"/>
                        <a:pt x="118091" y="38100"/>
                      </a:cubicBezTo>
                      <a:lnTo>
                        <a:pt x="118091" y="388534"/>
                      </a:lnTo>
                      <a:cubicBezTo>
                        <a:pt x="90954" y="395316"/>
                        <a:pt x="66018" y="409156"/>
                        <a:pt x="45739" y="429435"/>
                      </a:cubicBezTo>
                      <a:cubicBezTo>
                        <a:pt x="16231" y="458943"/>
                        <a:pt x="-9" y="498176"/>
                        <a:pt x="0" y="539905"/>
                      </a:cubicBezTo>
                      <a:cubicBezTo>
                        <a:pt x="0" y="626030"/>
                        <a:pt x="70066" y="696087"/>
                        <a:pt x="156191" y="696087"/>
                      </a:cubicBezTo>
                      <a:cubicBezTo>
                        <a:pt x="242316" y="696087"/>
                        <a:pt x="312382" y="626030"/>
                        <a:pt x="312382" y="539905"/>
                      </a:cubicBezTo>
                      <a:cubicBezTo>
                        <a:pt x="312392" y="466925"/>
                        <a:pt x="262023" y="405660"/>
                        <a:pt x="194291" y="388582"/>
                      </a:cubicBezTo>
                      <a:close/>
                      <a:moveTo>
                        <a:pt x="156191" y="619887"/>
                      </a:moveTo>
                      <a:cubicBezTo>
                        <a:pt x="112081" y="619887"/>
                        <a:pt x="76200" y="583997"/>
                        <a:pt x="76200" y="539896"/>
                      </a:cubicBezTo>
                      <a:cubicBezTo>
                        <a:pt x="76200" y="518522"/>
                        <a:pt x="84515" y="498424"/>
                        <a:pt x="99622" y="483327"/>
                      </a:cubicBezTo>
                      <a:cubicBezTo>
                        <a:pt x="114710" y="468230"/>
                        <a:pt x="134779" y="459914"/>
                        <a:pt x="156134" y="459895"/>
                      </a:cubicBezTo>
                      <a:cubicBezTo>
                        <a:pt x="156153" y="459895"/>
                        <a:pt x="156172" y="459905"/>
                        <a:pt x="156201" y="459905"/>
                      </a:cubicBezTo>
                      <a:cubicBezTo>
                        <a:pt x="156219" y="459905"/>
                        <a:pt x="156239" y="459895"/>
                        <a:pt x="156258" y="459895"/>
                      </a:cubicBezTo>
                      <a:cubicBezTo>
                        <a:pt x="200339" y="459934"/>
                        <a:pt x="236192" y="495805"/>
                        <a:pt x="236192" y="539905"/>
                      </a:cubicBezTo>
                      <a:cubicBezTo>
                        <a:pt x="236192" y="583997"/>
                        <a:pt x="200301" y="619887"/>
                        <a:pt x="156191" y="6198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2" name="Freeform: Shape 58">
                  <a:extLst>
                    <a:ext uri="{FF2B5EF4-FFF2-40B4-BE49-F238E27FC236}">
                      <a16:creationId xmlns:a16="http://schemas.microsoft.com/office/drawing/2014/main" id="{1BEE845D-5693-F742-8595-F45548F57F6A}"/>
                    </a:ext>
                  </a:extLst>
                </p:cNvPr>
                <p:cNvSpPr/>
                <p:nvPr/>
              </p:nvSpPr>
              <p:spPr>
                <a:xfrm>
                  <a:off x="411067" y="2370764"/>
                  <a:ext cx="819150" cy="800100"/>
                </a:xfrm>
                <a:custGeom>
                  <a:avLst/>
                  <a:gdLst>
                    <a:gd name="connsiteX0" fmla="*/ 819474 w 819150"/>
                    <a:gd name="connsiteY0" fmla="*/ 766924 h 800100"/>
                    <a:gd name="connsiteX1" fmla="*/ 781374 w 819150"/>
                    <a:gd name="connsiteY1" fmla="*/ 728824 h 800100"/>
                    <a:gd name="connsiteX2" fmla="*/ 194281 w 819150"/>
                    <a:gd name="connsiteY2" fmla="*/ 728824 h 800100"/>
                    <a:gd name="connsiteX3" fmla="*/ 194281 w 819150"/>
                    <a:gd name="connsiteY3" fmla="*/ 307477 h 800100"/>
                    <a:gd name="connsiteX4" fmla="*/ 312372 w 819150"/>
                    <a:gd name="connsiteY4" fmla="*/ 156172 h 800100"/>
                    <a:gd name="connsiteX5" fmla="*/ 156172 w 819150"/>
                    <a:gd name="connsiteY5" fmla="*/ 0 h 800100"/>
                    <a:gd name="connsiteX6" fmla="*/ 0 w 819150"/>
                    <a:gd name="connsiteY6" fmla="*/ 156191 h 800100"/>
                    <a:gd name="connsiteX7" fmla="*/ 118072 w 819150"/>
                    <a:gd name="connsiteY7" fmla="*/ 307486 h 800100"/>
                    <a:gd name="connsiteX8" fmla="*/ 118072 w 819150"/>
                    <a:gd name="connsiteY8" fmla="*/ 766924 h 800100"/>
                    <a:gd name="connsiteX9" fmla="*/ 156172 w 819150"/>
                    <a:gd name="connsiteY9" fmla="*/ 805024 h 800100"/>
                    <a:gd name="connsiteX10" fmla="*/ 781355 w 819150"/>
                    <a:gd name="connsiteY10" fmla="*/ 805024 h 800100"/>
                    <a:gd name="connsiteX11" fmla="*/ 819474 w 819150"/>
                    <a:gd name="connsiteY11" fmla="*/ 766924 h 800100"/>
                    <a:gd name="connsiteX12" fmla="*/ 156172 w 819150"/>
                    <a:gd name="connsiteY12" fmla="*/ 236182 h 800100"/>
                    <a:gd name="connsiteX13" fmla="*/ 76200 w 819150"/>
                    <a:gd name="connsiteY13" fmla="*/ 156201 h 800100"/>
                    <a:gd name="connsiteX14" fmla="*/ 156172 w 819150"/>
                    <a:gd name="connsiteY14" fmla="*/ 76210 h 800100"/>
                    <a:gd name="connsiteX15" fmla="*/ 236172 w 819150"/>
                    <a:gd name="connsiteY15" fmla="*/ 156181 h 800100"/>
                    <a:gd name="connsiteX16" fmla="*/ 156172 w 819150"/>
                    <a:gd name="connsiteY16" fmla="*/ 236182 h 80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19150" h="800100">
                      <a:moveTo>
                        <a:pt x="819474" y="766924"/>
                      </a:moveTo>
                      <a:cubicBezTo>
                        <a:pt x="819474" y="745884"/>
                        <a:pt x="802415" y="728824"/>
                        <a:pt x="781374" y="728824"/>
                      </a:cubicBezTo>
                      <a:lnTo>
                        <a:pt x="194281" y="728824"/>
                      </a:lnTo>
                      <a:lnTo>
                        <a:pt x="194281" y="307477"/>
                      </a:lnTo>
                      <a:cubicBezTo>
                        <a:pt x="262014" y="290398"/>
                        <a:pt x="312372" y="229133"/>
                        <a:pt x="312372" y="156172"/>
                      </a:cubicBezTo>
                      <a:cubicBezTo>
                        <a:pt x="312372" y="70056"/>
                        <a:pt x="242297" y="0"/>
                        <a:pt x="156172" y="0"/>
                      </a:cubicBezTo>
                      <a:cubicBezTo>
                        <a:pt x="70056" y="0"/>
                        <a:pt x="0" y="70066"/>
                        <a:pt x="0" y="156191"/>
                      </a:cubicBezTo>
                      <a:cubicBezTo>
                        <a:pt x="0" y="229152"/>
                        <a:pt x="50349" y="290408"/>
                        <a:pt x="118072" y="307486"/>
                      </a:cubicBezTo>
                      <a:lnTo>
                        <a:pt x="118072" y="766924"/>
                      </a:lnTo>
                      <a:cubicBezTo>
                        <a:pt x="118072" y="787965"/>
                        <a:pt x="135131" y="805024"/>
                        <a:pt x="156172" y="805024"/>
                      </a:cubicBezTo>
                      <a:lnTo>
                        <a:pt x="781355" y="805024"/>
                      </a:lnTo>
                      <a:cubicBezTo>
                        <a:pt x="802415" y="805024"/>
                        <a:pt x="819474" y="787965"/>
                        <a:pt x="819474" y="766924"/>
                      </a:cubicBezTo>
                      <a:close/>
                      <a:moveTo>
                        <a:pt x="156172" y="236182"/>
                      </a:moveTo>
                      <a:cubicBezTo>
                        <a:pt x="112081" y="236182"/>
                        <a:pt x="76200" y="200301"/>
                        <a:pt x="76200" y="156201"/>
                      </a:cubicBezTo>
                      <a:cubicBezTo>
                        <a:pt x="76200" y="112090"/>
                        <a:pt x="112071" y="76210"/>
                        <a:pt x="156172" y="76210"/>
                      </a:cubicBezTo>
                      <a:cubicBezTo>
                        <a:pt x="200282" y="76210"/>
                        <a:pt x="236172" y="112090"/>
                        <a:pt x="236172" y="156181"/>
                      </a:cubicBezTo>
                      <a:cubicBezTo>
                        <a:pt x="236182" y="200282"/>
                        <a:pt x="200292" y="236182"/>
                        <a:pt x="156172" y="23618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3" name="Freeform: Shape 59">
                  <a:extLst>
                    <a:ext uri="{FF2B5EF4-FFF2-40B4-BE49-F238E27FC236}">
                      <a16:creationId xmlns:a16="http://schemas.microsoft.com/office/drawing/2014/main" id="{EFF5031F-EAAA-7643-A878-C5325D1DD73B}"/>
                    </a:ext>
                  </a:extLst>
                </p:cNvPr>
                <p:cNvSpPr/>
                <p:nvPr/>
              </p:nvSpPr>
              <p:spPr>
                <a:xfrm>
                  <a:off x="686996" y="3993233"/>
                  <a:ext cx="590550" cy="723900"/>
                </a:xfrm>
                <a:custGeom>
                  <a:avLst/>
                  <a:gdLst>
                    <a:gd name="connsiteX0" fmla="*/ 555422 w 590550"/>
                    <a:gd name="connsiteY0" fmla="*/ 0 h 723900"/>
                    <a:gd name="connsiteX1" fmla="*/ 156200 w 590550"/>
                    <a:gd name="connsiteY1" fmla="*/ 0 h 723900"/>
                    <a:gd name="connsiteX2" fmla="*/ 118100 w 590550"/>
                    <a:gd name="connsiteY2" fmla="*/ 38100 h 723900"/>
                    <a:gd name="connsiteX3" fmla="*/ 118100 w 590550"/>
                    <a:gd name="connsiteY3" fmla="*/ 425253 h 723900"/>
                    <a:gd name="connsiteX4" fmla="*/ 0 w 590550"/>
                    <a:gd name="connsiteY4" fmla="*/ 576567 h 723900"/>
                    <a:gd name="connsiteX5" fmla="*/ 156210 w 590550"/>
                    <a:gd name="connsiteY5" fmla="*/ 732768 h 723900"/>
                    <a:gd name="connsiteX6" fmla="*/ 312410 w 590550"/>
                    <a:gd name="connsiteY6" fmla="*/ 576567 h 723900"/>
                    <a:gd name="connsiteX7" fmla="*/ 194300 w 590550"/>
                    <a:gd name="connsiteY7" fmla="*/ 425244 h 723900"/>
                    <a:gd name="connsiteX8" fmla="*/ 194300 w 590550"/>
                    <a:gd name="connsiteY8" fmla="*/ 76190 h 723900"/>
                    <a:gd name="connsiteX9" fmla="*/ 555422 w 590550"/>
                    <a:gd name="connsiteY9" fmla="*/ 76190 h 723900"/>
                    <a:gd name="connsiteX10" fmla="*/ 593522 w 590550"/>
                    <a:gd name="connsiteY10" fmla="*/ 38090 h 723900"/>
                    <a:gd name="connsiteX11" fmla="*/ 555422 w 590550"/>
                    <a:gd name="connsiteY11" fmla="*/ 0 h 723900"/>
                    <a:gd name="connsiteX12" fmla="*/ 236220 w 590550"/>
                    <a:gd name="connsiteY12" fmla="*/ 576567 h 723900"/>
                    <a:gd name="connsiteX13" fmla="*/ 156220 w 590550"/>
                    <a:gd name="connsiteY13" fmla="*/ 656568 h 723900"/>
                    <a:gd name="connsiteX14" fmla="*/ 76210 w 590550"/>
                    <a:gd name="connsiteY14" fmla="*/ 576567 h 723900"/>
                    <a:gd name="connsiteX15" fmla="*/ 156220 w 590550"/>
                    <a:gd name="connsiteY15" fmla="*/ 496557 h 723900"/>
                    <a:gd name="connsiteX16" fmla="*/ 236220 w 590550"/>
                    <a:gd name="connsiteY16" fmla="*/ 576567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90550" h="723900">
                      <a:moveTo>
                        <a:pt x="555422" y="0"/>
                      </a:moveTo>
                      <a:lnTo>
                        <a:pt x="156200" y="0"/>
                      </a:lnTo>
                      <a:cubicBezTo>
                        <a:pt x="135160" y="0"/>
                        <a:pt x="118100" y="17059"/>
                        <a:pt x="118100" y="38100"/>
                      </a:cubicBezTo>
                      <a:lnTo>
                        <a:pt x="118100" y="425253"/>
                      </a:lnTo>
                      <a:cubicBezTo>
                        <a:pt x="50359" y="442331"/>
                        <a:pt x="0" y="503596"/>
                        <a:pt x="0" y="576567"/>
                      </a:cubicBezTo>
                      <a:cubicBezTo>
                        <a:pt x="0" y="662702"/>
                        <a:pt x="70075" y="732768"/>
                        <a:pt x="156210" y="732768"/>
                      </a:cubicBezTo>
                      <a:cubicBezTo>
                        <a:pt x="242335" y="732768"/>
                        <a:pt x="312410" y="662702"/>
                        <a:pt x="312410" y="576567"/>
                      </a:cubicBezTo>
                      <a:cubicBezTo>
                        <a:pt x="312410" y="503596"/>
                        <a:pt x="262042" y="442322"/>
                        <a:pt x="194300" y="425244"/>
                      </a:cubicBezTo>
                      <a:lnTo>
                        <a:pt x="194300" y="76190"/>
                      </a:lnTo>
                      <a:lnTo>
                        <a:pt x="555422" y="76190"/>
                      </a:lnTo>
                      <a:cubicBezTo>
                        <a:pt x="576463" y="76190"/>
                        <a:pt x="593522" y="59131"/>
                        <a:pt x="593522" y="38090"/>
                      </a:cubicBezTo>
                      <a:cubicBezTo>
                        <a:pt x="593522" y="17050"/>
                        <a:pt x="576463" y="0"/>
                        <a:pt x="555422" y="0"/>
                      </a:cubicBezTo>
                      <a:close/>
                      <a:moveTo>
                        <a:pt x="236220" y="576567"/>
                      </a:moveTo>
                      <a:cubicBezTo>
                        <a:pt x="236220" y="620687"/>
                        <a:pt x="200330" y="656568"/>
                        <a:pt x="156220" y="656568"/>
                      </a:cubicBezTo>
                      <a:cubicBezTo>
                        <a:pt x="112100" y="656568"/>
                        <a:pt x="76210" y="620678"/>
                        <a:pt x="76210" y="576567"/>
                      </a:cubicBezTo>
                      <a:cubicBezTo>
                        <a:pt x="76210" y="532457"/>
                        <a:pt x="112100" y="496557"/>
                        <a:pt x="156220" y="496557"/>
                      </a:cubicBezTo>
                      <a:cubicBezTo>
                        <a:pt x="200320" y="496557"/>
                        <a:pt x="236220" y="532447"/>
                        <a:pt x="236220" y="57656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4" name="Freeform: Shape 60">
                  <a:extLst>
                    <a:ext uri="{FF2B5EF4-FFF2-40B4-BE49-F238E27FC236}">
                      <a16:creationId xmlns:a16="http://schemas.microsoft.com/office/drawing/2014/main" id="{D10EC005-3264-5843-90E6-9BB672F5AA41}"/>
                    </a:ext>
                  </a:extLst>
                </p:cNvPr>
                <p:cNvSpPr/>
                <p:nvPr/>
              </p:nvSpPr>
              <p:spPr>
                <a:xfrm>
                  <a:off x="568924" y="3433373"/>
                  <a:ext cx="609600" cy="304800"/>
                </a:xfrm>
                <a:custGeom>
                  <a:avLst/>
                  <a:gdLst>
                    <a:gd name="connsiteX0" fmla="*/ 307477 w 609600"/>
                    <a:gd name="connsiteY0" fmla="*/ 194300 h 304800"/>
                    <a:gd name="connsiteX1" fmla="*/ 579472 w 609600"/>
                    <a:gd name="connsiteY1" fmla="*/ 194300 h 304800"/>
                    <a:gd name="connsiteX2" fmla="*/ 617572 w 609600"/>
                    <a:gd name="connsiteY2" fmla="*/ 156200 h 304800"/>
                    <a:gd name="connsiteX3" fmla="*/ 617572 w 609600"/>
                    <a:gd name="connsiteY3" fmla="*/ 156162 h 304800"/>
                    <a:gd name="connsiteX4" fmla="*/ 617572 w 609600"/>
                    <a:gd name="connsiteY4" fmla="*/ 156124 h 304800"/>
                    <a:gd name="connsiteX5" fmla="*/ 579472 w 609600"/>
                    <a:gd name="connsiteY5" fmla="*/ 118024 h 304800"/>
                    <a:gd name="connsiteX6" fmla="*/ 307467 w 609600"/>
                    <a:gd name="connsiteY6" fmla="*/ 118024 h 304800"/>
                    <a:gd name="connsiteX7" fmla="*/ 156181 w 609600"/>
                    <a:gd name="connsiteY7" fmla="*/ 0 h 304800"/>
                    <a:gd name="connsiteX8" fmla="*/ 0 w 609600"/>
                    <a:gd name="connsiteY8" fmla="*/ 156172 h 304800"/>
                    <a:gd name="connsiteX9" fmla="*/ 156181 w 609600"/>
                    <a:gd name="connsiteY9" fmla="*/ 312420 h 304800"/>
                    <a:gd name="connsiteX10" fmla="*/ 307477 w 609600"/>
                    <a:gd name="connsiteY10" fmla="*/ 194300 h 304800"/>
                    <a:gd name="connsiteX11" fmla="*/ 76190 w 609600"/>
                    <a:gd name="connsiteY11" fmla="*/ 156162 h 304800"/>
                    <a:gd name="connsiteX12" fmla="*/ 156172 w 609600"/>
                    <a:gd name="connsiteY12" fmla="*/ 76190 h 304800"/>
                    <a:gd name="connsiteX13" fmla="*/ 236172 w 609600"/>
                    <a:gd name="connsiteY13" fmla="*/ 156162 h 304800"/>
                    <a:gd name="connsiteX14" fmla="*/ 156172 w 609600"/>
                    <a:gd name="connsiteY14" fmla="*/ 236210 h 304800"/>
                    <a:gd name="connsiteX15" fmla="*/ 76190 w 609600"/>
                    <a:gd name="connsiteY15" fmla="*/ 156162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609600" h="304800">
                      <a:moveTo>
                        <a:pt x="307477" y="194300"/>
                      </a:moveTo>
                      <a:lnTo>
                        <a:pt x="579472" y="194300"/>
                      </a:lnTo>
                      <a:cubicBezTo>
                        <a:pt x="600513" y="194300"/>
                        <a:pt x="617572" y="177241"/>
                        <a:pt x="617572" y="156200"/>
                      </a:cubicBezTo>
                      <a:cubicBezTo>
                        <a:pt x="617572" y="156181"/>
                        <a:pt x="617572" y="156172"/>
                        <a:pt x="617572" y="156162"/>
                      </a:cubicBezTo>
                      <a:cubicBezTo>
                        <a:pt x="617572" y="156153"/>
                        <a:pt x="617572" y="156134"/>
                        <a:pt x="617572" y="156124"/>
                      </a:cubicBezTo>
                      <a:cubicBezTo>
                        <a:pt x="617572" y="135083"/>
                        <a:pt x="600513" y="118024"/>
                        <a:pt x="579472" y="118024"/>
                      </a:cubicBezTo>
                      <a:lnTo>
                        <a:pt x="307467" y="118024"/>
                      </a:lnTo>
                      <a:cubicBezTo>
                        <a:pt x="290370" y="50330"/>
                        <a:pt x="229124" y="0"/>
                        <a:pt x="156181" y="0"/>
                      </a:cubicBezTo>
                      <a:cubicBezTo>
                        <a:pt x="70056" y="0"/>
                        <a:pt x="0" y="70056"/>
                        <a:pt x="0" y="156172"/>
                      </a:cubicBezTo>
                      <a:cubicBezTo>
                        <a:pt x="0" y="242325"/>
                        <a:pt x="70066" y="312420"/>
                        <a:pt x="156181" y="312420"/>
                      </a:cubicBezTo>
                      <a:cubicBezTo>
                        <a:pt x="229133" y="312410"/>
                        <a:pt x="290389" y="262052"/>
                        <a:pt x="307477" y="194300"/>
                      </a:cubicBezTo>
                      <a:close/>
                      <a:moveTo>
                        <a:pt x="76190" y="156162"/>
                      </a:moveTo>
                      <a:cubicBezTo>
                        <a:pt x="76190" y="112071"/>
                        <a:pt x="112071" y="76190"/>
                        <a:pt x="156172" y="76190"/>
                      </a:cubicBezTo>
                      <a:cubicBezTo>
                        <a:pt x="200282" y="76190"/>
                        <a:pt x="236172" y="112062"/>
                        <a:pt x="236172" y="156162"/>
                      </a:cubicBezTo>
                      <a:cubicBezTo>
                        <a:pt x="236172" y="200301"/>
                        <a:pt x="200282" y="236210"/>
                        <a:pt x="156172" y="236210"/>
                      </a:cubicBezTo>
                      <a:cubicBezTo>
                        <a:pt x="112071" y="236210"/>
                        <a:pt x="76190" y="200301"/>
                        <a:pt x="76190" y="15616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5" name="Freeform: Shape 61">
                  <a:extLst>
                    <a:ext uri="{FF2B5EF4-FFF2-40B4-BE49-F238E27FC236}">
                      <a16:creationId xmlns:a16="http://schemas.microsoft.com/office/drawing/2014/main" id="{99AEF38B-F62B-974E-9B80-AB47E0CDAC14}"/>
                    </a:ext>
                  </a:extLst>
                </p:cNvPr>
                <p:cNvSpPr/>
                <p:nvPr/>
              </p:nvSpPr>
              <p:spPr>
                <a:xfrm>
                  <a:off x="4010754" y="2447659"/>
                  <a:ext cx="533400" cy="723900"/>
                </a:xfrm>
                <a:custGeom>
                  <a:avLst/>
                  <a:gdLst>
                    <a:gd name="connsiteX0" fmla="*/ 38100 w 533400"/>
                    <a:gd name="connsiteY0" fmla="*/ 732739 h 723900"/>
                    <a:gd name="connsiteX1" fmla="*/ 386210 w 533400"/>
                    <a:gd name="connsiteY1" fmla="*/ 732739 h 723900"/>
                    <a:gd name="connsiteX2" fmla="*/ 424310 w 533400"/>
                    <a:gd name="connsiteY2" fmla="*/ 694639 h 723900"/>
                    <a:gd name="connsiteX3" fmla="*/ 424310 w 533400"/>
                    <a:gd name="connsiteY3" fmla="*/ 307515 h 723900"/>
                    <a:gd name="connsiteX4" fmla="*/ 542401 w 533400"/>
                    <a:gd name="connsiteY4" fmla="*/ 156191 h 723900"/>
                    <a:gd name="connsiteX5" fmla="*/ 386191 w 533400"/>
                    <a:gd name="connsiteY5" fmla="*/ 0 h 723900"/>
                    <a:gd name="connsiteX6" fmla="*/ 229981 w 533400"/>
                    <a:gd name="connsiteY6" fmla="*/ 156191 h 723900"/>
                    <a:gd name="connsiteX7" fmla="*/ 348110 w 533400"/>
                    <a:gd name="connsiteY7" fmla="*/ 307524 h 723900"/>
                    <a:gd name="connsiteX8" fmla="*/ 348110 w 533400"/>
                    <a:gd name="connsiteY8" fmla="*/ 656539 h 723900"/>
                    <a:gd name="connsiteX9" fmla="*/ 38100 w 533400"/>
                    <a:gd name="connsiteY9" fmla="*/ 656539 h 723900"/>
                    <a:gd name="connsiteX10" fmla="*/ 0 w 533400"/>
                    <a:gd name="connsiteY10" fmla="*/ 694639 h 723900"/>
                    <a:gd name="connsiteX11" fmla="*/ 38100 w 533400"/>
                    <a:gd name="connsiteY11" fmla="*/ 732739 h 723900"/>
                    <a:gd name="connsiteX12" fmla="*/ 306172 w 533400"/>
                    <a:gd name="connsiteY12" fmla="*/ 156181 h 723900"/>
                    <a:gd name="connsiteX13" fmla="*/ 386182 w 533400"/>
                    <a:gd name="connsiteY13" fmla="*/ 76191 h 723900"/>
                    <a:gd name="connsiteX14" fmla="*/ 466192 w 533400"/>
                    <a:gd name="connsiteY14" fmla="*/ 156181 h 723900"/>
                    <a:gd name="connsiteX15" fmla="*/ 386182 w 533400"/>
                    <a:gd name="connsiteY15" fmla="*/ 236201 h 723900"/>
                    <a:gd name="connsiteX16" fmla="*/ 306172 w 533400"/>
                    <a:gd name="connsiteY16" fmla="*/ 156181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33400" h="723900">
                      <a:moveTo>
                        <a:pt x="38100" y="732739"/>
                      </a:moveTo>
                      <a:lnTo>
                        <a:pt x="386210" y="732739"/>
                      </a:lnTo>
                      <a:cubicBezTo>
                        <a:pt x="407251" y="732739"/>
                        <a:pt x="424310" y="715680"/>
                        <a:pt x="424310" y="694639"/>
                      </a:cubicBezTo>
                      <a:lnTo>
                        <a:pt x="424310" y="307515"/>
                      </a:lnTo>
                      <a:cubicBezTo>
                        <a:pt x="492043" y="290436"/>
                        <a:pt x="542401" y="229162"/>
                        <a:pt x="542401" y="156191"/>
                      </a:cubicBezTo>
                      <a:cubicBezTo>
                        <a:pt x="542401" y="70066"/>
                        <a:pt x="472326" y="0"/>
                        <a:pt x="386191" y="0"/>
                      </a:cubicBezTo>
                      <a:cubicBezTo>
                        <a:pt x="300057" y="0"/>
                        <a:pt x="229981" y="70066"/>
                        <a:pt x="229981" y="156191"/>
                      </a:cubicBezTo>
                      <a:cubicBezTo>
                        <a:pt x="229981" y="229181"/>
                        <a:pt x="280359" y="290455"/>
                        <a:pt x="348110" y="307524"/>
                      </a:cubicBezTo>
                      <a:lnTo>
                        <a:pt x="348110" y="656539"/>
                      </a:lnTo>
                      <a:lnTo>
                        <a:pt x="38100" y="656539"/>
                      </a:lnTo>
                      <a:cubicBezTo>
                        <a:pt x="17059" y="656539"/>
                        <a:pt x="0" y="673599"/>
                        <a:pt x="0" y="694639"/>
                      </a:cubicBezTo>
                      <a:cubicBezTo>
                        <a:pt x="0" y="715680"/>
                        <a:pt x="17059" y="732739"/>
                        <a:pt x="38100" y="732739"/>
                      </a:cubicBezTo>
                      <a:close/>
                      <a:moveTo>
                        <a:pt x="306172" y="156181"/>
                      </a:moveTo>
                      <a:cubicBezTo>
                        <a:pt x="306172" y="112071"/>
                        <a:pt x="342071" y="76191"/>
                        <a:pt x="386182" y="76191"/>
                      </a:cubicBezTo>
                      <a:cubicBezTo>
                        <a:pt x="430292" y="76191"/>
                        <a:pt x="466192" y="112071"/>
                        <a:pt x="466192" y="156181"/>
                      </a:cubicBezTo>
                      <a:cubicBezTo>
                        <a:pt x="466192" y="200301"/>
                        <a:pt x="430292" y="236201"/>
                        <a:pt x="386182" y="236201"/>
                      </a:cubicBezTo>
                      <a:cubicBezTo>
                        <a:pt x="342071" y="236201"/>
                        <a:pt x="306172" y="200311"/>
                        <a:pt x="306172" y="1561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6" name="Freeform: Shape 62">
                  <a:extLst>
                    <a:ext uri="{FF2B5EF4-FFF2-40B4-BE49-F238E27FC236}">
                      <a16:creationId xmlns:a16="http://schemas.microsoft.com/office/drawing/2014/main" id="{F4A2AD36-971B-614D-A8CF-82DAFD73529A}"/>
                    </a:ext>
                  </a:extLst>
                </p:cNvPr>
                <p:cNvSpPr/>
                <p:nvPr/>
              </p:nvSpPr>
              <p:spPr>
                <a:xfrm>
                  <a:off x="4054084" y="3427896"/>
                  <a:ext cx="609600" cy="304800"/>
                </a:xfrm>
                <a:custGeom>
                  <a:avLst/>
                  <a:gdLst>
                    <a:gd name="connsiteX0" fmla="*/ 309629 w 609600"/>
                    <a:gd name="connsiteY0" fmla="*/ 118139 h 304800"/>
                    <a:gd name="connsiteX1" fmla="*/ 38100 w 609600"/>
                    <a:gd name="connsiteY1" fmla="*/ 118139 h 304800"/>
                    <a:gd name="connsiteX2" fmla="*/ 0 w 609600"/>
                    <a:gd name="connsiteY2" fmla="*/ 156239 h 304800"/>
                    <a:gd name="connsiteX3" fmla="*/ 38100 w 609600"/>
                    <a:gd name="connsiteY3" fmla="*/ 194339 h 304800"/>
                    <a:gd name="connsiteX4" fmla="*/ 309648 w 609600"/>
                    <a:gd name="connsiteY4" fmla="*/ 194339 h 304800"/>
                    <a:gd name="connsiteX5" fmla="*/ 460943 w 609600"/>
                    <a:gd name="connsiteY5" fmla="*/ 312411 h 304800"/>
                    <a:gd name="connsiteX6" fmla="*/ 617153 w 609600"/>
                    <a:gd name="connsiteY6" fmla="*/ 156210 h 304800"/>
                    <a:gd name="connsiteX7" fmla="*/ 460943 w 609600"/>
                    <a:gd name="connsiteY7" fmla="*/ 0 h 304800"/>
                    <a:gd name="connsiteX8" fmla="*/ 309629 w 609600"/>
                    <a:gd name="connsiteY8" fmla="*/ 118139 h 304800"/>
                    <a:gd name="connsiteX9" fmla="*/ 540953 w 609600"/>
                    <a:gd name="connsiteY9" fmla="*/ 156201 h 304800"/>
                    <a:gd name="connsiteX10" fmla="*/ 460943 w 609600"/>
                    <a:gd name="connsiteY10" fmla="*/ 236201 h 304800"/>
                    <a:gd name="connsiteX11" fmla="*/ 380962 w 609600"/>
                    <a:gd name="connsiteY11" fmla="*/ 156467 h 304800"/>
                    <a:gd name="connsiteX12" fmla="*/ 380981 w 609600"/>
                    <a:gd name="connsiteY12" fmla="*/ 156239 h 304800"/>
                    <a:gd name="connsiteX13" fmla="*/ 380952 w 609600"/>
                    <a:gd name="connsiteY13" fmla="*/ 155981 h 304800"/>
                    <a:gd name="connsiteX14" fmla="*/ 460934 w 609600"/>
                    <a:gd name="connsiteY14" fmla="*/ 76191 h 304800"/>
                    <a:gd name="connsiteX15" fmla="*/ 540953 w 609600"/>
                    <a:gd name="connsiteY15" fmla="*/ 156201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609600" h="304800">
                      <a:moveTo>
                        <a:pt x="309629" y="118139"/>
                      </a:moveTo>
                      <a:lnTo>
                        <a:pt x="38100" y="118139"/>
                      </a:lnTo>
                      <a:cubicBezTo>
                        <a:pt x="17059" y="118139"/>
                        <a:pt x="0" y="135198"/>
                        <a:pt x="0" y="156239"/>
                      </a:cubicBezTo>
                      <a:cubicBezTo>
                        <a:pt x="0" y="177279"/>
                        <a:pt x="17059" y="194339"/>
                        <a:pt x="38100" y="194339"/>
                      </a:cubicBezTo>
                      <a:lnTo>
                        <a:pt x="309648" y="194339"/>
                      </a:lnTo>
                      <a:cubicBezTo>
                        <a:pt x="326736" y="262061"/>
                        <a:pt x="387991" y="312411"/>
                        <a:pt x="460943" y="312411"/>
                      </a:cubicBezTo>
                      <a:cubicBezTo>
                        <a:pt x="547078" y="312411"/>
                        <a:pt x="617153" y="242345"/>
                        <a:pt x="617153" y="156210"/>
                      </a:cubicBezTo>
                      <a:cubicBezTo>
                        <a:pt x="617153" y="70076"/>
                        <a:pt x="547078" y="0"/>
                        <a:pt x="460943" y="0"/>
                      </a:cubicBezTo>
                      <a:cubicBezTo>
                        <a:pt x="387963" y="-9"/>
                        <a:pt x="326689" y="50378"/>
                        <a:pt x="309629" y="118139"/>
                      </a:cubicBezTo>
                      <a:close/>
                      <a:moveTo>
                        <a:pt x="540953" y="156201"/>
                      </a:moveTo>
                      <a:cubicBezTo>
                        <a:pt x="540953" y="200320"/>
                        <a:pt x="505053" y="236201"/>
                        <a:pt x="460943" y="236201"/>
                      </a:cubicBezTo>
                      <a:cubicBezTo>
                        <a:pt x="416928" y="236201"/>
                        <a:pt x="381114" y="200463"/>
                        <a:pt x="380962" y="156467"/>
                      </a:cubicBezTo>
                      <a:cubicBezTo>
                        <a:pt x="380962" y="156391"/>
                        <a:pt x="380981" y="156315"/>
                        <a:pt x="380981" y="156239"/>
                      </a:cubicBezTo>
                      <a:cubicBezTo>
                        <a:pt x="380981" y="156153"/>
                        <a:pt x="380952" y="156067"/>
                        <a:pt x="380952" y="155981"/>
                      </a:cubicBezTo>
                      <a:cubicBezTo>
                        <a:pt x="381076" y="111966"/>
                        <a:pt x="416900" y="76191"/>
                        <a:pt x="460934" y="76191"/>
                      </a:cubicBezTo>
                      <a:cubicBezTo>
                        <a:pt x="505053" y="76191"/>
                        <a:pt x="540953" y="112081"/>
                        <a:pt x="540953" y="1562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37" name="Freeform: Shape 63">
                  <a:extLst>
                    <a:ext uri="{FF2B5EF4-FFF2-40B4-BE49-F238E27FC236}">
                      <a16:creationId xmlns:a16="http://schemas.microsoft.com/office/drawing/2014/main" id="{1A7E92E5-6601-3840-AA44-0FF29D870360}"/>
                    </a:ext>
                  </a:extLst>
                </p:cNvPr>
                <p:cNvSpPr/>
                <p:nvPr/>
              </p:nvSpPr>
              <p:spPr>
                <a:xfrm>
                  <a:off x="3957891" y="3997834"/>
                  <a:ext cx="866775" cy="800100"/>
                </a:xfrm>
                <a:custGeom>
                  <a:avLst/>
                  <a:gdLst>
                    <a:gd name="connsiteX0" fmla="*/ 753142 w 866775"/>
                    <a:gd name="connsiteY0" fmla="*/ 497596 h 800100"/>
                    <a:gd name="connsiteX1" fmla="*/ 753142 w 866775"/>
                    <a:gd name="connsiteY1" fmla="*/ 38100 h 800100"/>
                    <a:gd name="connsiteX2" fmla="*/ 715042 w 866775"/>
                    <a:gd name="connsiteY2" fmla="*/ 0 h 800100"/>
                    <a:gd name="connsiteX3" fmla="*/ 38100 w 866775"/>
                    <a:gd name="connsiteY3" fmla="*/ 0 h 800100"/>
                    <a:gd name="connsiteX4" fmla="*/ 0 w 866775"/>
                    <a:gd name="connsiteY4" fmla="*/ 38100 h 800100"/>
                    <a:gd name="connsiteX5" fmla="*/ 38100 w 866775"/>
                    <a:gd name="connsiteY5" fmla="*/ 76200 h 800100"/>
                    <a:gd name="connsiteX6" fmla="*/ 676942 w 866775"/>
                    <a:gd name="connsiteY6" fmla="*/ 76200 h 800100"/>
                    <a:gd name="connsiteX7" fmla="*/ 676942 w 866775"/>
                    <a:gd name="connsiteY7" fmla="*/ 497577 h 800100"/>
                    <a:gd name="connsiteX8" fmla="*/ 558794 w 866775"/>
                    <a:gd name="connsiteY8" fmla="*/ 648881 h 800100"/>
                    <a:gd name="connsiteX9" fmla="*/ 715013 w 866775"/>
                    <a:gd name="connsiteY9" fmla="*/ 805063 h 800100"/>
                    <a:gd name="connsiteX10" fmla="*/ 871185 w 866775"/>
                    <a:gd name="connsiteY10" fmla="*/ 648881 h 800100"/>
                    <a:gd name="connsiteX11" fmla="*/ 753142 w 866775"/>
                    <a:gd name="connsiteY11" fmla="*/ 497596 h 800100"/>
                    <a:gd name="connsiteX12" fmla="*/ 715023 w 866775"/>
                    <a:gd name="connsiteY12" fmla="*/ 728872 h 800100"/>
                    <a:gd name="connsiteX13" fmla="*/ 635003 w 866775"/>
                    <a:gd name="connsiteY13" fmla="*/ 648891 h 800100"/>
                    <a:gd name="connsiteX14" fmla="*/ 715023 w 866775"/>
                    <a:gd name="connsiteY14" fmla="*/ 568900 h 800100"/>
                    <a:gd name="connsiteX15" fmla="*/ 794995 w 866775"/>
                    <a:gd name="connsiteY15" fmla="*/ 648891 h 800100"/>
                    <a:gd name="connsiteX16" fmla="*/ 715023 w 866775"/>
                    <a:gd name="connsiteY16" fmla="*/ 728872 h 800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66775" h="800100">
                      <a:moveTo>
                        <a:pt x="753142" y="497596"/>
                      </a:moveTo>
                      <a:lnTo>
                        <a:pt x="753142" y="38100"/>
                      </a:lnTo>
                      <a:cubicBezTo>
                        <a:pt x="753142" y="17059"/>
                        <a:pt x="736082" y="0"/>
                        <a:pt x="715042" y="0"/>
                      </a:cubicBezTo>
                      <a:lnTo>
                        <a:pt x="38100" y="0"/>
                      </a:lnTo>
                      <a:cubicBezTo>
                        <a:pt x="17059" y="0"/>
                        <a:pt x="0" y="17059"/>
                        <a:pt x="0" y="38100"/>
                      </a:cubicBezTo>
                      <a:cubicBezTo>
                        <a:pt x="0" y="59141"/>
                        <a:pt x="17059" y="76200"/>
                        <a:pt x="38100" y="76200"/>
                      </a:cubicBezTo>
                      <a:lnTo>
                        <a:pt x="676942" y="76200"/>
                      </a:lnTo>
                      <a:lnTo>
                        <a:pt x="676942" y="497577"/>
                      </a:lnTo>
                      <a:cubicBezTo>
                        <a:pt x="609171" y="514636"/>
                        <a:pt x="558794" y="575910"/>
                        <a:pt x="558794" y="648881"/>
                      </a:cubicBezTo>
                      <a:cubicBezTo>
                        <a:pt x="558794" y="735006"/>
                        <a:pt x="628869" y="805063"/>
                        <a:pt x="715013" y="805063"/>
                      </a:cubicBezTo>
                      <a:cubicBezTo>
                        <a:pt x="801119" y="805063"/>
                        <a:pt x="871185" y="735006"/>
                        <a:pt x="871185" y="648881"/>
                      </a:cubicBezTo>
                      <a:cubicBezTo>
                        <a:pt x="871185" y="575939"/>
                        <a:pt x="820846" y="514683"/>
                        <a:pt x="753142" y="497596"/>
                      </a:cubicBezTo>
                      <a:close/>
                      <a:moveTo>
                        <a:pt x="715023" y="728872"/>
                      </a:moveTo>
                      <a:cubicBezTo>
                        <a:pt x="670893" y="728872"/>
                        <a:pt x="635003" y="692982"/>
                        <a:pt x="635003" y="648891"/>
                      </a:cubicBezTo>
                      <a:cubicBezTo>
                        <a:pt x="635003" y="604781"/>
                        <a:pt x="670903" y="568900"/>
                        <a:pt x="715023" y="568900"/>
                      </a:cubicBezTo>
                      <a:cubicBezTo>
                        <a:pt x="759114" y="568900"/>
                        <a:pt x="794995" y="604790"/>
                        <a:pt x="794995" y="648891"/>
                      </a:cubicBezTo>
                      <a:cubicBezTo>
                        <a:pt x="794985" y="692982"/>
                        <a:pt x="759104" y="728872"/>
                        <a:pt x="715023" y="7288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407AED3-9091-0448-9747-818DA6BBD095}"/>
                  </a:ext>
                </a:extLst>
              </p:cNvPr>
              <p:cNvGrpSpPr/>
              <p:nvPr/>
            </p:nvGrpSpPr>
            <p:grpSpPr>
              <a:xfrm>
                <a:off x="1255229" y="2145774"/>
                <a:ext cx="2724150" cy="2724150"/>
                <a:chOff x="1255229" y="2145774"/>
                <a:chExt cx="2724150" cy="2724150"/>
              </a:xfrm>
              <a:grpFill/>
            </p:grpSpPr>
            <p:sp>
              <p:nvSpPr>
                <p:cNvPr id="9" name="Freeform: Shape 35">
                  <a:extLst>
                    <a:ext uri="{FF2B5EF4-FFF2-40B4-BE49-F238E27FC236}">
                      <a16:creationId xmlns:a16="http://schemas.microsoft.com/office/drawing/2014/main" id="{760B67CF-32B8-7A42-9760-E134F31166F0}"/>
                    </a:ext>
                  </a:extLst>
                </p:cNvPr>
                <p:cNvSpPr/>
                <p:nvPr/>
              </p:nvSpPr>
              <p:spPr>
                <a:xfrm>
                  <a:off x="1255229" y="2145774"/>
                  <a:ext cx="2724150" cy="2724150"/>
                </a:xfrm>
                <a:custGeom>
                  <a:avLst/>
                  <a:gdLst>
                    <a:gd name="connsiteX0" fmla="*/ 1364856 w 2724150"/>
                    <a:gd name="connsiteY0" fmla="*/ 2729713 h 2724150"/>
                    <a:gd name="connsiteX1" fmla="*/ 2729713 w 2724150"/>
                    <a:gd name="connsiteY1" fmla="*/ 1364856 h 2724150"/>
                    <a:gd name="connsiteX2" fmla="*/ 1364856 w 2724150"/>
                    <a:gd name="connsiteY2" fmla="*/ 0 h 2724150"/>
                    <a:gd name="connsiteX3" fmla="*/ 0 w 2724150"/>
                    <a:gd name="connsiteY3" fmla="*/ 1364856 h 2724150"/>
                    <a:gd name="connsiteX4" fmla="*/ 1364856 w 2724150"/>
                    <a:gd name="connsiteY4" fmla="*/ 2729713 h 2724150"/>
                    <a:gd name="connsiteX5" fmla="*/ 1364856 w 2724150"/>
                    <a:gd name="connsiteY5" fmla="*/ 76200 h 2724150"/>
                    <a:gd name="connsiteX6" fmla="*/ 2653513 w 2724150"/>
                    <a:gd name="connsiteY6" fmla="*/ 1364856 h 2724150"/>
                    <a:gd name="connsiteX7" fmla="*/ 1364856 w 2724150"/>
                    <a:gd name="connsiteY7" fmla="*/ 2653513 h 2724150"/>
                    <a:gd name="connsiteX8" fmla="*/ 76200 w 2724150"/>
                    <a:gd name="connsiteY8" fmla="*/ 1364856 h 2724150"/>
                    <a:gd name="connsiteX9" fmla="*/ 1364856 w 2724150"/>
                    <a:gd name="connsiteY9" fmla="*/ 76200 h 2724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724150" h="2724150">
                      <a:moveTo>
                        <a:pt x="1364856" y="2729713"/>
                      </a:moveTo>
                      <a:cubicBezTo>
                        <a:pt x="2117446" y="2729713"/>
                        <a:pt x="2729713" y="2117446"/>
                        <a:pt x="2729713" y="1364856"/>
                      </a:cubicBezTo>
                      <a:cubicBezTo>
                        <a:pt x="2729713" y="612277"/>
                        <a:pt x="2117446" y="0"/>
                        <a:pt x="1364856" y="0"/>
                      </a:cubicBezTo>
                      <a:cubicBezTo>
                        <a:pt x="612277" y="0"/>
                        <a:pt x="0" y="612277"/>
                        <a:pt x="0" y="1364856"/>
                      </a:cubicBezTo>
                      <a:cubicBezTo>
                        <a:pt x="0" y="2117446"/>
                        <a:pt x="612277" y="2729713"/>
                        <a:pt x="1364856" y="2729713"/>
                      </a:cubicBezTo>
                      <a:close/>
                      <a:moveTo>
                        <a:pt x="1364856" y="76200"/>
                      </a:moveTo>
                      <a:cubicBezTo>
                        <a:pt x="2075431" y="76200"/>
                        <a:pt x="2653513" y="654291"/>
                        <a:pt x="2653513" y="1364856"/>
                      </a:cubicBezTo>
                      <a:cubicBezTo>
                        <a:pt x="2653513" y="2075421"/>
                        <a:pt x="2075431" y="2653513"/>
                        <a:pt x="1364856" y="2653513"/>
                      </a:cubicBezTo>
                      <a:cubicBezTo>
                        <a:pt x="654291" y="2653513"/>
                        <a:pt x="76200" y="2075421"/>
                        <a:pt x="76200" y="1364856"/>
                      </a:cubicBezTo>
                      <a:cubicBezTo>
                        <a:pt x="76200" y="654291"/>
                        <a:pt x="654291" y="76200"/>
                        <a:pt x="1364856" y="762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0" name="Freeform: Shape 36">
                  <a:extLst>
                    <a:ext uri="{FF2B5EF4-FFF2-40B4-BE49-F238E27FC236}">
                      <a16:creationId xmlns:a16="http://schemas.microsoft.com/office/drawing/2014/main" id="{466F89A3-8069-864A-AD15-203A83D23346}"/>
                    </a:ext>
                  </a:extLst>
                </p:cNvPr>
                <p:cNvSpPr/>
                <p:nvPr/>
              </p:nvSpPr>
              <p:spPr>
                <a:xfrm>
                  <a:off x="2511119" y="4250583"/>
                  <a:ext cx="942975" cy="409575"/>
                </a:xfrm>
                <a:custGeom>
                  <a:avLst/>
                  <a:gdLst>
                    <a:gd name="connsiteX0" fmla="*/ 884578 w 942975"/>
                    <a:gd name="connsiteY0" fmla="*/ 11579 h 409575"/>
                    <a:gd name="connsiteX1" fmla="*/ 108957 w 942975"/>
                    <a:gd name="connsiteY1" fmla="*/ 340039 h 409575"/>
                    <a:gd name="connsiteX2" fmla="*/ 68781 w 942975"/>
                    <a:gd name="connsiteY2" fmla="*/ 339305 h 409575"/>
                    <a:gd name="connsiteX3" fmla="*/ 68723 w 942975"/>
                    <a:gd name="connsiteY3" fmla="*/ 339305 h 409575"/>
                    <a:gd name="connsiteX4" fmla="*/ 59237 w 942975"/>
                    <a:gd name="connsiteY4" fmla="*/ 338924 h 409575"/>
                    <a:gd name="connsiteX5" fmla="*/ 54607 w 942975"/>
                    <a:gd name="connsiteY5" fmla="*/ 339000 h 409575"/>
                    <a:gd name="connsiteX6" fmla="*/ 49921 w 942975"/>
                    <a:gd name="connsiteY6" fmla="*/ 338457 h 409575"/>
                    <a:gd name="connsiteX7" fmla="*/ 40501 w 942975"/>
                    <a:gd name="connsiteY7" fmla="*/ 337905 h 409575"/>
                    <a:gd name="connsiteX8" fmla="*/ 77 w 942975"/>
                    <a:gd name="connsiteY8" fmla="*/ 373529 h 409575"/>
                    <a:gd name="connsiteX9" fmla="*/ 35710 w 942975"/>
                    <a:gd name="connsiteY9" fmla="*/ 413953 h 409575"/>
                    <a:gd name="connsiteX10" fmla="*/ 45797 w 942975"/>
                    <a:gd name="connsiteY10" fmla="*/ 414543 h 409575"/>
                    <a:gd name="connsiteX11" fmla="*/ 50864 w 942975"/>
                    <a:gd name="connsiteY11" fmla="*/ 414486 h 409575"/>
                    <a:gd name="connsiteX12" fmla="*/ 55979 w 942975"/>
                    <a:gd name="connsiteY12" fmla="*/ 415048 h 409575"/>
                    <a:gd name="connsiteX13" fmla="*/ 65685 w 942975"/>
                    <a:gd name="connsiteY13" fmla="*/ 415439 h 409575"/>
                    <a:gd name="connsiteX14" fmla="*/ 65971 w 942975"/>
                    <a:gd name="connsiteY14" fmla="*/ 415448 h 409575"/>
                    <a:gd name="connsiteX15" fmla="*/ 108967 w 942975"/>
                    <a:gd name="connsiteY15" fmla="*/ 416239 h 409575"/>
                    <a:gd name="connsiteX16" fmla="*/ 939299 w 942975"/>
                    <a:gd name="connsiteY16" fmla="*/ 64614 h 409575"/>
                    <a:gd name="connsiteX17" fmla="*/ 938461 w 942975"/>
                    <a:gd name="connsiteY17" fmla="*/ 10740 h 409575"/>
                    <a:gd name="connsiteX18" fmla="*/ 884578 w 942975"/>
                    <a:gd name="connsiteY18" fmla="*/ 11579 h 409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42975" h="409575">
                      <a:moveTo>
                        <a:pt x="884578" y="11579"/>
                      </a:moveTo>
                      <a:cubicBezTo>
                        <a:pt x="679305" y="223376"/>
                        <a:pt x="403851" y="340029"/>
                        <a:pt x="108957" y="340039"/>
                      </a:cubicBezTo>
                      <a:cubicBezTo>
                        <a:pt x="95479" y="340039"/>
                        <a:pt x="81963" y="339791"/>
                        <a:pt x="68781" y="339305"/>
                      </a:cubicBezTo>
                      <a:cubicBezTo>
                        <a:pt x="68762" y="339305"/>
                        <a:pt x="68743" y="339305"/>
                        <a:pt x="68723" y="339305"/>
                      </a:cubicBezTo>
                      <a:lnTo>
                        <a:pt x="59237" y="338924"/>
                      </a:lnTo>
                      <a:cubicBezTo>
                        <a:pt x="57665" y="338848"/>
                        <a:pt x="56131" y="338886"/>
                        <a:pt x="54607" y="339000"/>
                      </a:cubicBezTo>
                      <a:cubicBezTo>
                        <a:pt x="53074" y="338734"/>
                        <a:pt x="51512" y="338543"/>
                        <a:pt x="49921" y="338457"/>
                      </a:cubicBezTo>
                      <a:lnTo>
                        <a:pt x="40501" y="337905"/>
                      </a:lnTo>
                      <a:cubicBezTo>
                        <a:pt x="19565" y="336705"/>
                        <a:pt x="1401" y="352526"/>
                        <a:pt x="77" y="373529"/>
                      </a:cubicBezTo>
                      <a:cubicBezTo>
                        <a:pt x="-1247" y="394531"/>
                        <a:pt x="14707" y="412629"/>
                        <a:pt x="35710" y="413953"/>
                      </a:cubicBezTo>
                      <a:lnTo>
                        <a:pt x="45797" y="414543"/>
                      </a:lnTo>
                      <a:cubicBezTo>
                        <a:pt x="47511" y="414639"/>
                        <a:pt x="49197" y="414619"/>
                        <a:pt x="50864" y="414486"/>
                      </a:cubicBezTo>
                      <a:cubicBezTo>
                        <a:pt x="52531" y="414781"/>
                        <a:pt x="54236" y="414972"/>
                        <a:pt x="55979" y="415048"/>
                      </a:cubicBezTo>
                      <a:lnTo>
                        <a:pt x="65685" y="415439"/>
                      </a:lnTo>
                      <a:cubicBezTo>
                        <a:pt x="65780" y="415439"/>
                        <a:pt x="65876" y="415448"/>
                        <a:pt x="65971" y="415448"/>
                      </a:cubicBezTo>
                      <a:cubicBezTo>
                        <a:pt x="80087" y="415972"/>
                        <a:pt x="94555" y="416239"/>
                        <a:pt x="108967" y="416239"/>
                      </a:cubicBezTo>
                      <a:cubicBezTo>
                        <a:pt x="424673" y="416229"/>
                        <a:pt x="719557" y="291356"/>
                        <a:pt x="939299" y="64614"/>
                      </a:cubicBezTo>
                      <a:cubicBezTo>
                        <a:pt x="953949" y="49497"/>
                        <a:pt x="953567" y="25380"/>
                        <a:pt x="938461" y="10740"/>
                      </a:cubicBezTo>
                      <a:cubicBezTo>
                        <a:pt x="923345" y="-3890"/>
                        <a:pt x="899227" y="-3538"/>
                        <a:pt x="884578" y="1157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1" name="Freeform: Shape 37">
                  <a:extLst>
                    <a:ext uri="{FF2B5EF4-FFF2-40B4-BE49-F238E27FC236}">
                      <a16:creationId xmlns:a16="http://schemas.microsoft.com/office/drawing/2014/main" id="{F6F5A7A5-3734-9A49-8E6E-39C85AFB14DC}"/>
                    </a:ext>
                  </a:extLst>
                </p:cNvPr>
                <p:cNvSpPr/>
                <p:nvPr/>
              </p:nvSpPr>
              <p:spPr>
                <a:xfrm>
                  <a:off x="3582094" y="3036338"/>
                  <a:ext cx="190500" cy="1009650"/>
                </a:xfrm>
                <a:custGeom>
                  <a:avLst/>
                  <a:gdLst>
                    <a:gd name="connsiteX0" fmla="*/ 21067 w 190500"/>
                    <a:gd name="connsiteY0" fmla="*/ 1008807 h 1009650"/>
                    <a:gd name="connsiteX1" fmla="*/ 38079 w 190500"/>
                    <a:gd name="connsiteY1" fmla="*/ 1012836 h 1009650"/>
                    <a:gd name="connsiteX2" fmla="*/ 72188 w 190500"/>
                    <a:gd name="connsiteY2" fmla="*/ 991766 h 1009650"/>
                    <a:gd name="connsiteX3" fmla="*/ 76645 w 190500"/>
                    <a:gd name="connsiteY3" fmla="*/ 982775 h 1009650"/>
                    <a:gd name="connsiteX4" fmla="*/ 78598 w 190500"/>
                    <a:gd name="connsiteY4" fmla="*/ 978050 h 1009650"/>
                    <a:gd name="connsiteX5" fmla="*/ 81084 w 190500"/>
                    <a:gd name="connsiteY5" fmla="*/ 973631 h 1009650"/>
                    <a:gd name="connsiteX6" fmla="*/ 85275 w 190500"/>
                    <a:gd name="connsiteY6" fmla="*/ 964782 h 1009650"/>
                    <a:gd name="connsiteX7" fmla="*/ 85427 w 190500"/>
                    <a:gd name="connsiteY7" fmla="*/ 964468 h 1009650"/>
                    <a:gd name="connsiteX8" fmla="*/ 194184 w 190500"/>
                    <a:gd name="connsiteY8" fmla="*/ 474292 h 1009650"/>
                    <a:gd name="connsiteX9" fmla="*/ 102877 w 190500"/>
                    <a:gd name="connsiteY9" fmla="*/ 23226 h 1009650"/>
                    <a:gd name="connsiteX10" fmla="*/ 52928 w 190500"/>
                    <a:gd name="connsiteY10" fmla="*/ 3024 h 1009650"/>
                    <a:gd name="connsiteX11" fmla="*/ 32725 w 190500"/>
                    <a:gd name="connsiteY11" fmla="*/ 52982 h 1009650"/>
                    <a:gd name="connsiteX12" fmla="*/ 117984 w 190500"/>
                    <a:gd name="connsiteY12" fmla="*/ 474292 h 1009650"/>
                    <a:gd name="connsiteX13" fmla="*/ 16428 w 190500"/>
                    <a:gd name="connsiteY13" fmla="*/ 932140 h 1009650"/>
                    <a:gd name="connsiteX14" fmla="*/ 16419 w 190500"/>
                    <a:gd name="connsiteY14" fmla="*/ 932169 h 1009650"/>
                    <a:gd name="connsiteX15" fmla="*/ 12380 w 190500"/>
                    <a:gd name="connsiteY15" fmla="*/ 940693 h 1009650"/>
                    <a:gd name="connsiteX16" fmla="*/ 10589 w 190500"/>
                    <a:gd name="connsiteY16" fmla="*/ 945075 h 1009650"/>
                    <a:gd name="connsiteX17" fmla="*/ 8275 w 190500"/>
                    <a:gd name="connsiteY17" fmla="*/ 949151 h 1009650"/>
                    <a:gd name="connsiteX18" fmla="*/ 4027 w 190500"/>
                    <a:gd name="connsiteY18" fmla="*/ 957695 h 1009650"/>
                    <a:gd name="connsiteX19" fmla="*/ 21067 w 190500"/>
                    <a:gd name="connsiteY19" fmla="*/ 1008807 h 1009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90500" h="1009650">
                      <a:moveTo>
                        <a:pt x="21067" y="1008807"/>
                      </a:moveTo>
                      <a:cubicBezTo>
                        <a:pt x="26534" y="1011540"/>
                        <a:pt x="32354" y="1012836"/>
                        <a:pt x="38079" y="1012836"/>
                      </a:cubicBezTo>
                      <a:cubicBezTo>
                        <a:pt x="52052" y="1012836"/>
                        <a:pt x="65511" y="1005111"/>
                        <a:pt x="72188" y="991766"/>
                      </a:cubicBezTo>
                      <a:lnTo>
                        <a:pt x="76645" y="982775"/>
                      </a:lnTo>
                      <a:cubicBezTo>
                        <a:pt x="77407" y="981232"/>
                        <a:pt x="78055" y="979650"/>
                        <a:pt x="78598" y="978050"/>
                      </a:cubicBezTo>
                      <a:cubicBezTo>
                        <a:pt x="79512" y="976660"/>
                        <a:pt x="80350" y="975174"/>
                        <a:pt x="81084" y="973631"/>
                      </a:cubicBezTo>
                      <a:lnTo>
                        <a:pt x="85275" y="964782"/>
                      </a:lnTo>
                      <a:cubicBezTo>
                        <a:pt x="85322" y="964677"/>
                        <a:pt x="85370" y="964582"/>
                        <a:pt x="85427" y="964468"/>
                      </a:cubicBezTo>
                      <a:cubicBezTo>
                        <a:pt x="157589" y="810515"/>
                        <a:pt x="194184" y="645590"/>
                        <a:pt x="194184" y="474292"/>
                      </a:cubicBezTo>
                      <a:cubicBezTo>
                        <a:pt x="194184" y="317844"/>
                        <a:pt x="163456" y="166082"/>
                        <a:pt x="102877" y="23226"/>
                      </a:cubicBezTo>
                      <a:cubicBezTo>
                        <a:pt x="94666" y="3852"/>
                        <a:pt x="72321" y="-5168"/>
                        <a:pt x="52928" y="3024"/>
                      </a:cubicBezTo>
                      <a:cubicBezTo>
                        <a:pt x="33554" y="11244"/>
                        <a:pt x="24515" y="33599"/>
                        <a:pt x="32725" y="52982"/>
                      </a:cubicBezTo>
                      <a:cubicBezTo>
                        <a:pt x="89294" y="186370"/>
                        <a:pt x="117984" y="328122"/>
                        <a:pt x="117984" y="474292"/>
                      </a:cubicBezTo>
                      <a:cubicBezTo>
                        <a:pt x="117984" y="634331"/>
                        <a:pt x="83818" y="788379"/>
                        <a:pt x="16428" y="932140"/>
                      </a:cubicBezTo>
                      <a:cubicBezTo>
                        <a:pt x="16428" y="932149"/>
                        <a:pt x="16419" y="932159"/>
                        <a:pt x="16419" y="932169"/>
                      </a:cubicBezTo>
                      <a:lnTo>
                        <a:pt x="12380" y="940693"/>
                      </a:lnTo>
                      <a:cubicBezTo>
                        <a:pt x="11685" y="942132"/>
                        <a:pt x="11094" y="943598"/>
                        <a:pt x="10589" y="945075"/>
                      </a:cubicBezTo>
                      <a:cubicBezTo>
                        <a:pt x="9751" y="946370"/>
                        <a:pt x="8970" y="947723"/>
                        <a:pt x="8275" y="949151"/>
                      </a:cubicBezTo>
                      <a:lnTo>
                        <a:pt x="4027" y="957695"/>
                      </a:lnTo>
                      <a:cubicBezTo>
                        <a:pt x="-5375" y="976517"/>
                        <a:pt x="2245" y="999396"/>
                        <a:pt x="21067" y="10088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2" name="Freeform: Shape 38">
                  <a:extLst>
                    <a:ext uri="{FF2B5EF4-FFF2-40B4-BE49-F238E27FC236}">
                      <a16:creationId xmlns:a16="http://schemas.microsoft.com/office/drawing/2014/main" id="{5855976D-58C5-6846-B876-0A0D68B49455}"/>
                    </a:ext>
                  </a:extLst>
                </p:cNvPr>
                <p:cNvSpPr/>
                <p:nvPr/>
              </p:nvSpPr>
              <p:spPr>
                <a:xfrm>
                  <a:off x="2113464" y="2354438"/>
                  <a:ext cx="1390650" cy="466725"/>
                </a:xfrm>
                <a:custGeom>
                  <a:avLst/>
                  <a:gdLst>
                    <a:gd name="connsiteX0" fmla="*/ 54088 w 1390650"/>
                    <a:gd name="connsiteY0" fmla="*/ 175270 h 466725"/>
                    <a:gd name="connsiteX1" fmla="*/ 506583 w 1390650"/>
                    <a:gd name="connsiteY1" fmla="*/ 76190 h 466725"/>
                    <a:gd name="connsiteX2" fmla="*/ 506612 w 1390650"/>
                    <a:gd name="connsiteY2" fmla="*/ 76190 h 466725"/>
                    <a:gd name="connsiteX3" fmla="*/ 1309645 w 1390650"/>
                    <a:gd name="connsiteY3" fmla="*/ 433997 h 466725"/>
                    <a:gd name="connsiteX4" fmla="*/ 1309664 w 1390650"/>
                    <a:gd name="connsiteY4" fmla="*/ 434007 h 466725"/>
                    <a:gd name="connsiteX5" fmla="*/ 1315941 w 1390650"/>
                    <a:gd name="connsiteY5" fmla="*/ 441055 h 466725"/>
                    <a:gd name="connsiteX6" fmla="*/ 1319247 w 1390650"/>
                    <a:gd name="connsiteY6" fmla="*/ 444360 h 466725"/>
                    <a:gd name="connsiteX7" fmla="*/ 1322123 w 1390650"/>
                    <a:gd name="connsiteY7" fmla="*/ 448113 h 466725"/>
                    <a:gd name="connsiteX8" fmla="*/ 1328343 w 1390650"/>
                    <a:gd name="connsiteY8" fmla="*/ 455333 h 466725"/>
                    <a:gd name="connsiteX9" fmla="*/ 1357289 w 1390650"/>
                    <a:gd name="connsiteY9" fmla="*/ 468640 h 466725"/>
                    <a:gd name="connsiteX10" fmla="*/ 1382073 w 1390650"/>
                    <a:gd name="connsiteY10" fmla="*/ 459467 h 466725"/>
                    <a:gd name="connsiteX11" fmla="*/ 1386207 w 1390650"/>
                    <a:gd name="connsiteY11" fmla="*/ 405746 h 466725"/>
                    <a:gd name="connsiteX12" fmla="*/ 1379683 w 1390650"/>
                    <a:gd name="connsiteY12" fmla="*/ 398183 h 466725"/>
                    <a:gd name="connsiteX13" fmla="*/ 1376130 w 1390650"/>
                    <a:gd name="connsiteY13" fmla="*/ 394592 h 466725"/>
                    <a:gd name="connsiteX14" fmla="*/ 1373006 w 1390650"/>
                    <a:gd name="connsiteY14" fmla="*/ 390554 h 466725"/>
                    <a:gd name="connsiteX15" fmla="*/ 1366471 w 1390650"/>
                    <a:gd name="connsiteY15" fmla="*/ 383238 h 466725"/>
                    <a:gd name="connsiteX16" fmla="*/ 1366319 w 1390650"/>
                    <a:gd name="connsiteY16" fmla="*/ 383067 h 466725"/>
                    <a:gd name="connsiteX17" fmla="*/ 1366291 w 1390650"/>
                    <a:gd name="connsiteY17" fmla="*/ 383038 h 466725"/>
                    <a:gd name="connsiteX18" fmla="*/ 1366214 w 1390650"/>
                    <a:gd name="connsiteY18" fmla="*/ 382962 h 466725"/>
                    <a:gd name="connsiteX19" fmla="*/ 506612 w 1390650"/>
                    <a:gd name="connsiteY19" fmla="*/ 0 h 466725"/>
                    <a:gd name="connsiteX20" fmla="*/ 506583 w 1390650"/>
                    <a:gd name="connsiteY20" fmla="*/ 0 h 466725"/>
                    <a:gd name="connsiteX21" fmla="*/ 22122 w 1390650"/>
                    <a:gd name="connsiteY21" fmla="*/ 106109 h 466725"/>
                    <a:gd name="connsiteX22" fmla="*/ 3520 w 1390650"/>
                    <a:gd name="connsiteY22" fmla="*/ 156677 h 466725"/>
                    <a:gd name="connsiteX23" fmla="*/ 54088 w 1390650"/>
                    <a:gd name="connsiteY23" fmla="*/ 175270 h 466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390650" h="466725">
                      <a:moveTo>
                        <a:pt x="54088" y="175270"/>
                      </a:moveTo>
                      <a:cubicBezTo>
                        <a:pt x="196344" y="109528"/>
                        <a:pt x="348582" y="76190"/>
                        <a:pt x="506583" y="76190"/>
                      </a:cubicBezTo>
                      <a:cubicBezTo>
                        <a:pt x="506593" y="76190"/>
                        <a:pt x="506602" y="76190"/>
                        <a:pt x="506612" y="76190"/>
                      </a:cubicBezTo>
                      <a:cubicBezTo>
                        <a:pt x="812317" y="76190"/>
                        <a:pt x="1105001" y="206607"/>
                        <a:pt x="1309645" y="433997"/>
                      </a:cubicBezTo>
                      <a:cubicBezTo>
                        <a:pt x="1309655" y="433997"/>
                        <a:pt x="1309655" y="434007"/>
                        <a:pt x="1309664" y="434007"/>
                      </a:cubicBezTo>
                      <a:lnTo>
                        <a:pt x="1315941" y="441055"/>
                      </a:lnTo>
                      <a:cubicBezTo>
                        <a:pt x="1316989" y="442236"/>
                        <a:pt x="1318094" y="443332"/>
                        <a:pt x="1319247" y="444360"/>
                      </a:cubicBezTo>
                      <a:cubicBezTo>
                        <a:pt x="1320123" y="445646"/>
                        <a:pt x="1321066" y="446903"/>
                        <a:pt x="1322123" y="448113"/>
                      </a:cubicBezTo>
                      <a:lnTo>
                        <a:pt x="1328343" y="455333"/>
                      </a:lnTo>
                      <a:cubicBezTo>
                        <a:pt x="1335877" y="464125"/>
                        <a:pt x="1346555" y="468640"/>
                        <a:pt x="1357289" y="468640"/>
                      </a:cubicBezTo>
                      <a:cubicBezTo>
                        <a:pt x="1366062" y="468640"/>
                        <a:pt x="1374882" y="465630"/>
                        <a:pt x="1382073" y="459467"/>
                      </a:cubicBezTo>
                      <a:cubicBezTo>
                        <a:pt x="1398047" y="445770"/>
                        <a:pt x="1399895" y="421719"/>
                        <a:pt x="1386207" y="405746"/>
                      </a:cubicBezTo>
                      <a:lnTo>
                        <a:pt x="1379683" y="398183"/>
                      </a:lnTo>
                      <a:cubicBezTo>
                        <a:pt x="1378568" y="396888"/>
                        <a:pt x="1377378" y="395688"/>
                        <a:pt x="1376130" y="394592"/>
                      </a:cubicBezTo>
                      <a:cubicBezTo>
                        <a:pt x="1375187" y="393202"/>
                        <a:pt x="1374149" y="391840"/>
                        <a:pt x="1373006" y="390554"/>
                      </a:cubicBezTo>
                      <a:lnTo>
                        <a:pt x="1366471" y="383238"/>
                      </a:lnTo>
                      <a:cubicBezTo>
                        <a:pt x="1366424" y="383181"/>
                        <a:pt x="1366367" y="383124"/>
                        <a:pt x="1366319" y="383067"/>
                      </a:cubicBezTo>
                      <a:lnTo>
                        <a:pt x="1366291" y="383038"/>
                      </a:lnTo>
                      <a:cubicBezTo>
                        <a:pt x="1366262" y="383010"/>
                        <a:pt x="1366233" y="382991"/>
                        <a:pt x="1366214" y="382962"/>
                      </a:cubicBezTo>
                      <a:cubicBezTo>
                        <a:pt x="1147149" y="139589"/>
                        <a:pt x="833834" y="0"/>
                        <a:pt x="506612" y="0"/>
                      </a:cubicBezTo>
                      <a:cubicBezTo>
                        <a:pt x="506593" y="0"/>
                        <a:pt x="506602" y="0"/>
                        <a:pt x="506583" y="0"/>
                      </a:cubicBezTo>
                      <a:cubicBezTo>
                        <a:pt x="337486" y="0"/>
                        <a:pt x="174465" y="35709"/>
                        <a:pt x="22122" y="106109"/>
                      </a:cubicBezTo>
                      <a:cubicBezTo>
                        <a:pt x="3025" y="114938"/>
                        <a:pt x="-5300" y="137579"/>
                        <a:pt x="3520" y="156677"/>
                      </a:cubicBezTo>
                      <a:cubicBezTo>
                        <a:pt x="12350" y="175774"/>
                        <a:pt x="34991" y="184109"/>
                        <a:pt x="54088" y="175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3" name="Freeform: Shape 39">
                  <a:extLst>
                    <a:ext uri="{FF2B5EF4-FFF2-40B4-BE49-F238E27FC236}">
                      <a16:creationId xmlns:a16="http://schemas.microsoft.com/office/drawing/2014/main" id="{DB1EFDB8-A6F8-404B-B52B-B3BCFFE41080}"/>
                    </a:ext>
                  </a:extLst>
                </p:cNvPr>
                <p:cNvSpPr/>
                <p:nvPr/>
              </p:nvSpPr>
              <p:spPr>
                <a:xfrm>
                  <a:off x="1526534" y="3842560"/>
                  <a:ext cx="723900" cy="742950"/>
                </a:xfrm>
                <a:custGeom>
                  <a:avLst/>
                  <a:gdLst>
                    <a:gd name="connsiteX0" fmla="*/ 676357 w 723900"/>
                    <a:gd name="connsiteY0" fmla="*/ 746700 h 742950"/>
                    <a:gd name="connsiteX1" fmla="*/ 690102 w 723900"/>
                    <a:gd name="connsiteY1" fmla="*/ 749281 h 742950"/>
                    <a:gd name="connsiteX2" fmla="*/ 725639 w 723900"/>
                    <a:gd name="connsiteY2" fmla="*/ 724916 h 742950"/>
                    <a:gd name="connsiteX3" fmla="*/ 703856 w 723900"/>
                    <a:gd name="connsiteY3" fmla="*/ 675634 h 742950"/>
                    <a:gd name="connsiteX4" fmla="*/ 83788 w 723900"/>
                    <a:gd name="connsiteY4" fmla="*/ 52080 h 742950"/>
                    <a:gd name="connsiteX5" fmla="*/ 83626 w 723900"/>
                    <a:gd name="connsiteY5" fmla="*/ 51671 h 742950"/>
                    <a:gd name="connsiteX6" fmla="*/ 80444 w 723900"/>
                    <a:gd name="connsiteY6" fmla="*/ 43203 h 742950"/>
                    <a:gd name="connsiteX7" fmla="*/ 78558 w 723900"/>
                    <a:gd name="connsiteY7" fmla="*/ 38945 h 742950"/>
                    <a:gd name="connsiteX8" fmla="*/ 77225 w 723900"/>
                    <a:gd name="connsiteY8" fmla="*/ 34402 h 742950"/>
                    <a:gd name="connsiteX9" fmla="*/ 74053 w 723900"/>
                    <a:gd name="connsiteY9" fmla="*/ 25477 h 742950"/>
                    <a:gd name="connsiteX10" fmla="*/ 25476 w 723900"/>
                    <a:gd name="connsiteY10" fmla="*/ 2169 h 742950"/>
                    <a:gd name="connsiteX11" fmla="*/ 2168 w 723900"/>
                    <a:gd name="connsiteY11" fmla="*/ 50746 h 742950"/>
                    <a:gd name="connsiteX12" fmla="*/ 5540 w 723900"/>
                    <a:gd name="connsiteY12" fmla="*/ 60224 h 742950"/>
                    <a:gd name="connsiteX13" fmla="*/ 7559 w 723900"/>
                    <a:gd name="connsiteY13" fmla="*/ 64853 h 742950"/>
                    <a:gd name="connsiteX14" fmla="*/ 9026 w 723900"/>
                    <a:gd name="connsiteY14" fmla="*/ 69768 h 742950"/>
                    <a:gd name="connsiteX15" fmla="*/ 12569 w 723900"/>
                    <a:gd name="connsiteY15" fmla="*/ 79179 h 742950"/>
                    <a:gd name="connsiteX16" fmla="*/ 12779 w 723900"/>
                    <a:gd name="connsiteY16" fmla="*/ 79731 h 742950"/>
                    <a:gd name="connsiteX17" fmla="*/ 676357 w 723900"/>
                    <a:gd name="connsiteY17" fmla="*/ 746700 h 742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23900" h="742950">
                      <a:moveTo>
                        <a:pt x="676357" y="746700"/>
                      </a:moveTo>
                      <a:cubicBezTo>
                        <a:pt x="680881" y="748453"/>
                        <a:pt x="685530" y="749281"/>
                        <a:pt x="690102" y="749281"/>
                      </a:cubicBezTo>
                      <a:cubicBezTo>
                        <a:pt x="705380" y="749281"/>
                        <a:pt x="719800" y="740023"/>
                        <a:pt x="725639" y="724916"/>
                      </a:cubicBezTo>
                      <a:cubicBezTo>
                        <a:pt x="733231" y="705295"/>
                        <a:pt x="723477" y="683235"/>
                        <a:pt x="703856" y="675634"/>
                      </a:cubicBezTo>
                      <a:cubicBezTo>
                        <a:pt x="418572" y="565220"/>
                        <a:pt x="192573" y="337954"/>
                        <a:pt x="83788" y="52080"/>
                      </a:cubicBezTo>
                      <a:cubicBezTo>
                        <a:pt x="83740" y="51947"/>
                        <a:pt x="83683" y="51813"/>
                        <a:pt x="83626" y="51671"/>
                      </a:cubicBezTo>
                      <a:lnTo>
                        <a:pt x="80444" y="43203"/>
                      </a:lnTo>
                      <a:cubicBezTo>
                        <a:pt x="79892" y="41726"/>
                        <a:pt x="79263" y="40298"/>
                        <a:pt x="78558" y="38945"/>
                      </a:cubicBezTo>
                      <a:cubicBezTo>
                        <a:pt x="78216" y="37421"/>
                        <a:pt x="77768" y="35916"/>
                        <a:pt x="77225" y="34402"/>
                      </a:cubicBezTo>
                      <a:lnTo>
                        <a:pt x="74053" y="25477"/>
                      </a:lnTo>
                      <a:cubicBezTo>
                        <a:pt x="67081" y="5617"/>
                        <a:pt x="45326" y="-4813"/>
                        <a:pt x="25476" y="2169"/>
                      </a:cubicBezTo>
                      <a:cubicBezTo>
                        <a:pt x="5626" y="9141"/>
                        <a:pt x="-4814" y="30897"/>
                        <a:pt x="2168" y="50746"/>
                      </a:cubicBezTo>
                      <a:lnTo>
                        <a:pt x="5540" y="60224"/>
                      </a:lnTo>
                      <a:cubicBezTo>
                        <a:pt x="6121" y="61834"/>
                        <a:pt x="6797" y="63377"/>
                        <a:pt x="7559" y="64853"/>
                      </a:cubicBezTo>
                      <a:cubicBezTo>
                        <a:pt x="7940" y="66501"/>
                        <a:pt x="8416" y="68139"/>
                        <a:pt x="9026" y="69768"/>
                      </a:cubicBezTo>
                      <a:lnTo>
                        <a:pt x="12569" y="79179"/>
                      </a:lnTo>
                      <a:cubicBezTo>
                        <a:pt x="12636" y="79369"/>
                        <a:pt x="12712" y="79541"/>
                        <a:pt x="12779" y="79731"/>
                      </a:cubicBezTo>
                      <a:cubicBezTo>
                        <a:pt x="129327" y="385493"/>
                        <a:pt x="371157" y="628581"/>
                        <a:pt x="676357" y="7467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4" name="Freeform: Shape 40">
                  <a:extLst>
                    <a:ext uri="{FF2B5EF4-FFF2-40B4-BE49-F238E27FC236}">
                      <a16:creationId xmlns:a16="http://schemas.microsoft.com/office/drawing/2014/main" id="{0A78D952-ECAA-BA49-98DF-1E48C3834EDE}"/>
                    </a:ext>
                  </a:extLst>
                </p:cNvPr>
                <p:cNvSpPr/>
                <p:nvPr/>
              </p:nvSpPr>
              <p:spPr>
                <a:xfrm>
                  <a:off x="1463903" y="2645265"/>
                  <a:ext cx="438150" cy="933450"/>
                </a:xfrm>
                <a:custGeom>
                  <a:avLst/>
                  <a:gdLst>
                    <a:gd name="connsiteX0" fmla="*/ 76705 w 438150"/>
                    <a:gd name="connsiteY0" fmla="*/ 899551 h 933450"/>
                    <a:gd name="connsiteX1" fmla="*/ 76171 w 438150"/>
                    <a:gd name="connsiteY1" fmla="*/ 865365 h 933450"/>
                    <a:gd name="connsiteX2" fmla="*/ 408861 w 438150"/>
                    <a:gd name="connsiteY2" fmla="*/ 85678 h 933450"/>
                    <a:gd name="connsiteX3" fmla="*/ 408956 w 438150"/>
                    <a:gd name="connsiteY3" fmla="*/ 85582 h 933450"/>
                    <a:gd name="connsiteX4" fmla="*/ 415776 w 438150"/>
                    <a:gd name="connsiteY4" fmla="*/ 79105 h 933450"/>
                    <a:gd name="connsiteX5" fmla="*/ 419043 w 438150"/>
                    <a:gd name="connsiteY5" fmla="*/ 75629 h 933450"/>
                    <a:gd name="connsiteX6" fmla="*/ 422691 w 438150"/>
                    <a:gd name="connsiteY6" fmla="*/ 72647 h 933450"/>
                    <a:gd name="connsiteX7" fmla="*/ 429625 w 438150"/>
                    <a:gd name="connsiteY7" fmla="*/ 66285 h 933450"/>
                    <a:gd name="connsiteX8" fmla="*/ 432187 w 438150"/>
                    <a:gd name="connsiteY8" fmla="*/ 12468 h 933450"/>
                    <a:gd name="connsiteX9" fmla="*/ 378371 w 438150"/>
                    <a:gd name="connsiteY9" fmla="*/ 9906 h 933450"/>
                    <a:gd name="connsiteX10" fmla="*/ 370923 w 438150"/>
                    <a:gd name="connsiteY10" fmla="*/ 16736 h 933450"/>
                    <a:gd name="connsiteX11" fmla="*/ 367436 w 438150"/>
                    <a:gd name="connsiteY11" fmla="*/ 20422 h 933450"/>
                    <a:gd name="connsiteX12" fmla="*/ 363569 w 438150"/>
                    <a:gd name="connsiteY12" fmla="*/ 23613 h 933450"/>
                    <a:gd name="connsiteX13" fmla="*/ 356483 w 438150"/>
                    <a:gd name="connsiteY13" fmla="*/ 30347 h 933450"/>
                    <a:gd name="connsiteX14" fmla="*/ 356254 w 438150"/>
                    <a:gd name="connsiteY14" fmla="*/ 30566 h 933450"/>
                    <a:gd name="connsiteX15" fmla="*/ 356254 w 438150"/>
                    <a:gd name="connsiteY15" fmla="*/ 30566 h 933450"/>
                    <a:gd name="connsiteX16" fmla="*/ 356216 w 438150"/>
                    <a:gd name="connsiteY16" fmla="*/ 30594 h 933450"/>
                    <a:gd name="connsiteX17" fmla="*/ 0 w 438150"/>
                    <a:gd name="connsiteY17" fmla="*/ 865356 h 933450"/>
                    <a:gd name="connsiteX18" fmla="*/ 571 w 438150"/>
                    <a:gd name="connsiteY18" fmla="*/ 901894 h 933450"/>
                    <a:gd name="connsiteX19" fmla="*/ 38633 w 438150"/>
                    <a:gd name="connsiteY19" fmla="*/ 938813 h 933450"/>
                    <a:gd name="connsiteX20" fmla="*/ 39833 w 438150"/>
                    <a:gd name="connsiteY20" fmla="*/ 938794 h 933450"/>
                    <a:gd name="connsiteX21" fmla="*/ 76705 w 438150"/>
                    <a:gd name="connsiteY21" fmla="*/ 899551 h 933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38150" h="933450">
                      <a:moveTo>
                        <a:pt x="76705" y="899551"/>
                      </a:moveTo>
                      <a:cubicBezTo>
                        <a:pt x="76352" y="888197"/>
                        <a:pt x="76171" y="876795"/>
                        <a:pt x="76171" y="865365"/>
                      </a:cubicBezTo>
                      <a:cubicBezTo>
                        <a:pt x="76171" y="568243"/>
                        <a:pt x="194310" y="291360"/>
                        <a:pt x="408861" y="85678"/>
                      </a:cubicBezTo>
                      <a:cubicBezTo>
                        <a:pt x="408889" y="85649"/>
                        <a:pt x="408927" y="85620"/>
                        <a:pt x="408956" y="85582"/>
                      </a:cubicBezTo>
                      <a:lnTo>
                        <a:pt x="415776" y="79105"/>
                      </a:lnTo>
                      <a:cubicBezTo>
                        <a:pt x="416957" y="78000"/>
                        <a:pt x="418033" y="76838"/>
                        <a:pt x="419043" y="75629"/>
                      </a:cubicBezTo>
                      <a:cubicBezTo>
                        <a:pt x="420300" y="74714"/>
                        <a:pt x="421519" y="73724"/>
                        <a:pt x="422691" y="72647"/>
                      </a:cubicBezTo>
                      <a:lnTo>
                        <a:pt x="429625" y="66285"/>
                      </a:lnTo>
                      <a:cubicBezTo>
                        <a:pt x="445198" y="52131"/>
                        <a:pt x="446342" y="28032"/>
                        <a:pt x="432187" y="12468"/>
                      </a:cubicBezTo>
                      <a:cubicBezTo>
                        <a:pt x="418024" y="-3105"/>
                        <a:pt x="393925" y="-4238"/>
                        <a:pt x="378371" y="9906"/>
                      </a:cubicBezTo>
                      <a:lnTo>
                        <a:pt x="370923" y="16736"/>
                      </a:lnTo>
                      <a:cubicBezTo>
                        <a:pt x="369665" y="17907"/>
                        <a:pt x="368503" y="19126"/>
                        <a:pt x="367436" y="20422"/>
                      </a:cubicBezTo>
                      <a:cubicBezTo>
                        <a:pt x="366093" y="21393"/>
                        <a:pt x="364808" y="22451"/>
                        <a:pt x="363569" y="23613"/>
                      </a:cubicBezTo>
                      <a:lnTo>
                        <a:pt x="356483" y="30347"/>
                      </a:lnTo>
                      <a:cubicBezTo>
                        <a:pt x="356406" y="30423"/>
                        <a:pt x="356330" y="30490"/>
                        <a:pt x="356254" y="30566"/>
                      </a:cubicBezTo>
                      <a:lnTo>
                        <a:pt x="356254" y="30566"/>
                      </a:lnTo>
                      <a:cubicBezTo>
                        <a:pt x="356245" y="30575"/>
                        <a:pt x="356235" y="30585"/>
                        <a:pt x="356216" y="30594"/>
                      </a:cubicBezTo>
                      <a:cubicBezTo>
                        <a:pt x="126511" y="250784"/>
                        <a:pt x="0" y="547250"/>
                        <a:pt x="0" y="865356"/>
                      </a:cubicBezTo>
                      <a:cubicBezTo>
                        <a:pt x="0" y="877586"/>
                        <a:pt x="190" y="889769"/>
                        <a:pt x="571" y="901894"/>
                      </a:cubicBezTo>
                      <a:cubicBezTo>
                        <a:pt x="1210" y="922525"/>
                        <a:pt x="18136" y="938813"/>
                        <a:pt x="38633" y="938813"/>
                      </a:cubicBezTo>
                      <a:cubicBezTo>
                        <a:pt x="39033" y="938813"/>
                        <a:pt x="39433" y="938813"/>
                        <a:pt x="39833" y="938794"/>
                      </a:cubicBezTo>
                      <a:cubicBezTo>
                        <a:pt x="60827" y="938156"/>
                        <a:pt x="77353" y="920582"/>
                        <a:pt x="76705" y="89955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5" name="Freeform: Shape 41">
                  <a:extLst>
                    <a:ext uri="{FF2B5EF4-FFF2-40B4-BE49-F238E27FC236}">
                      <a16:creationId xmlns:a16="http://schemas.microsoft.com/office/drawing/2014/main" id="{7A845F7C-AF0F-4E4C-AC69-5274273F84BC}"/>
                    </a:ext>
                  </a:extLst>
                </p:cNvPr>
                <p:cNvSpPr/>
                <p:nvPr/>
              </p:nvSpPr>
              <p:spPr>
                <a:xfrm>
                  <a:off x="3177295" y="3319206"/>
                  <a:ext cx="400050" cy="933450"/>
                </a:xfrm>
                <a:custGeom>
                  <a:avLst/>
                  <a:gdLst>
                    <a:gd name="connsiteX0" fmla="*/ 316585 w 400050"/>
                    <a:gd name="connsiteY0" fmla="*/ 44358 h 933450"/>
                    <a:gd name="connsiteX1" fmla="*/ 328730 w 400050"/>
                    <a:gd name="connsiteY1" fmla="*/ 191424 h 933450"/>
                    <a:gd name="connsiteX2" fmla="*/ 34617 w 400050"/>
                    <a:gd name="connsiteY2" fmla="*/ 850707 h 933450"/>
                    <a:gd name="connsiteX3" fmla="*/ 34531 w 400050"/>
                    <a:gd name="connsiteY3" fmla="*/ 850783 h 933450"/>
                    <a:gd name="connsiteX4" fmla="*/ 27645 w 400050"/>
                    <a:gd name="connsiteY4" fmla="*/ 856908 h 933450"/>
                    <a:gd name="connsiteX5" fmla="*/ 24311 w 400050"/>
                    <a:gd name="connsiteY5" fmla="*/ 860203 h 933450"/>
                    <a:gd name="connsiteX6" fmla="*/ 20634 w 400050"/>
                    <a:gd name="connsiteY6" fmla="*/ 862994 h 933450"/>
                    <a:gd name="connsiteX7" fmla="*/ 13510 w 400050"/>
                    <a:gd name="connsiteY7" fmla="*/ 869080 h 933450"/>
                    <a:gd name="connsiteX8" fmla="*/ 9004 w 400050"/>
                    <a:gd name="connsiteY8" fmla="*/ 922773 h 933450"/>
                    <a:gd name="connsiteX9" fmla="*/ 38122 w 400050"/>
                    <a:gd name="connsiteY9" fmla="*/ 936279 h 933450"/>
                    <a:gd name="connsiteX10" fmla="*/ 62697 w 400050"/>
                    <a:gd name="connsiteY10" fmla="*/ 927278 h 933450"/>
                    <a:gd name="connsiteX11" fmla="*/ 70307 w 400050"/>
                    <a:gd name="connsiteY11" fmla="*/ 920801 h 933450"/>
                    <a:gd name="connsiteX12" fmla="*/ 73926 w 400050"/>
                    <a:gd name="connsiteY12" fmla="*/ 917248 h 933450"/>
                    <a:gd name="connsiteX13" fmla="*/ 77889 w 400050"/>
                    <a:gd name="connsiteY13" fmla="*/ 914200 h 933450"/>
                    <a:gd name="connsiteX14" fmla="*/ 85366 w 400050"/>
                    <a:gd name="connsiteY14" fmla="*/ 907561 h 933450"/>
                    <a:gd name="connsiteX15" fmla="*/ 85461 w 400050"/>
                    <a:gd name="connsiteY15" fmla="*/ 907476 h 933450"/>
                    <a:gd name="connsiteX16" fmla="*/ 404920 w 400050"/>
                    <a:gd name="connsiteY16" fmla="*/ 191434 h 933450"/>
                    <a:gd name="connsiteX17" fmla="*/ 391728 w 400050"/>
                    <a:gd name="connsiteY17" fmla="*/ 31823 h 933450"/>
                    <a:gd name="connsiteX18" fmla="*/ 347875 w 400050"/>
                    <a:gd name="connsiteY18" fmla="*/ 515 h 933450"/>
                    <a:gd name="connsiteX19" fmla="*/ 316585 w 400050"/>
                    <a:gd name="connsiteY19" fmla="*/ 44358 h 933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00050" h="933450">
                      <a:moveTo>
                        <a:pt x="316585" y="44358"/>
                      </a:moveTo>
                      <a:cubicBezTo>
                        <a:pt x="324644" y="92602"/>
                        <a:pt x="328720" y="142085"/>
                        <a:pt x="328730" y="191424"/>
                      </a:cubicBezTo>
                      <a:cubicBezTo>
                        <a:pt x="328730" y="442503"/>
                        <a:pt x="221526" y="682791"/>
                        <a:pt x="34617" y="850707"/>
                      </a:cubicBezTo>
                      <a:cubicBezTo>
                        <a:pt x="34588" y="850735"/>
                        <a:pt x="34560" y="850764"/>
                        <a:pt x="34531" y="850783"/>
                      </a:cubicBezTo>
                      <a:cubicBezTo>
                        <a:pt x="32255" y="852840"/>
                        <a:pt x="29959" y="854879"/>
                        <a:pt x="27645" y="856908"/>
                      </a:cubicBezTo>
                      <a:cubicBezTo>
                        <a:pt x="26454" y="857946"/>
                        <a:pt x="25349" y="859060"/>
                        <a:pt x="24311" y="860203"/>
                      </a:cubicBezTo>
                      <a:cubicBezTo>
                        <a:pt x="23044" y="861051"/>
                        <a:pt x="21825" y="861984"/>
                        <a:pt x="20634" y="862994"/>
                      </a:cubicBezTo>
                      <a:lnTo>
                        <a:pt x="13510" y="869080"/>
                      </a:lnTo>
                      <a:cubicBezTo>
                        <a:pt x="-2569" y="882663"/>
                        <a:pt x="-4579" y="906704"/>
                        <a:pt x="9004" y="922773"/>
                      </a:cubicBezTo>
                      <a:cubicBezTo>
                        <a:pt x="16538" y="931698"/>
                        <a:pt x="27292" y="936279"/>
                        <a:pt x="38122" y="936279"/>
                      </a:cubicBezTo>
                      <a:cubicBezTo>
                        <a:pt x="46809" y="936279"/>
                        <a:pt x="55543" y="933317"/>
                        <a:pt x="62697" y="927278"/>
                      </a:cubicBezTo>
                      <a:lnTo>
                        <a:pt x="70307" y="920801"/>
                      </a:lnTo>
                      <a:cubicBezTo>
                        <a:pt x="71602" y="919677"/>
                        <a:pt x="72812" y="918496"/>
                        <a:pt x="73926" y="917248"/>
                      </a:cubicBezTo>
                      <a:cubicBezTo>
                        <a:pt x="75298" y="916325"/>
                        <a:pt x="76622" y="915315"/>
                        <a:pt x="77889" y="914200"/>
                      </a:cubicBezTo>
                      <a:cubicBezTo>
                        <a:pt x="80403" y="912000"/>
                        <a:pt x="82890" y="909790"/>
                        <a:pt x="85366" y="907561"/>
                      </a:cubicBezTo>
                      <a:cubicBezTo>
                        <a:pt x="85395" y="907533"/>
                        <a:pt x="85433" y="907504"/>
                        <a:pt x="85461" y="907476"/>
                      </a:cubicBezTo>
                      <a:cubicBezTo>
                        <a:pt x="288477" y="725129"/>
                        <a:pt x="404920" y="464144"/>
                        <a:pt x="404920" y="191434"/>
                      </a:cubicBezTo>
                      <a:cubicBezTo>
                        <a:pt x="404911" y="137894"/>
                        <a:pt x="400472" y="84201"/>
                        <a:pt x="391728" y="31823"/>
                      </a:cubicBezTo>
                      <a:cubicBezTo>
                        <a:pt x="388271" y="11068"/>
                        <a:pt x="368630" y="-2905"/>
                        <a:pt x="347875" y="515"/>
                      </a:cubicBezTo>
                      <a:cubicBezTo>
                        <a:pt x="327139" y="3963"/>
                        <a:pt x="313118" y="23594"/>
                        <a:pt x="316585" y="443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6" name="Freeform: Shape 42">
                  <a:extLst>
                    <a:ext uri="{FF2B5EF4-FFF2-40B4-BE49-F238E27FC236}">
                      <a16:creationId xmlns:a16="http://schemas.microsoft.com/office/drawing/2014/main" id="{47A02694-E34D-4B47-9D4B-09A3FEEF176A}"/>
                    </a:ext>
                  </a:extLst>
                </p:cNvPr>
                <p:cNvSpPr/>
                <p:nvPr/>
              </p:nvSpPr>
              <p:spPr>
                <a:xfrm>
                  <a:off x="1657918" y="2999314"/>
                  <a:ext cx="200025" cy="990600"/>
                </a:xfrm>
                <a:custGeom>
                  <a:avLst/>
                  <a:gdLst>
                    <a:gd name="connsiteX0" fmla="*/ 187062 w 200025"/>
                    <a:gd name="connsiteY0" fmla="*/ 81852 h 990600"/>
                    <a:gd name="connsiteX1" fmla="*/ 191653 w 200025"/>
                    <a:gd name="connsiteY1" fmla="*/ 73670 h 990600"/>
                    <a:gd name="connsiteX2" fmla="*/ 193672 w 200025"/>
                    <a:gd name="connsiteY2" fmla="*/ 69546 h 990600"/>
                    <a:gd name="connsiteX3" fmla="*/ 196272 w 200025"/>
                    <a:gd name="connsiteY3" fmla="*/ 65641 h 990600"/>
                    <a:gd name="connsiteX4" fmla="*/ 201006 w 200025"/>
                    <a:gd name="connsiteY4" fmla="*/ 57621 h 990600"/>
                    <a:gd name="connsiteX5" fmla="*/ 187795 w 200025"/>
                    <a:gd name="connsiteY5" fmla="*/ 5386 h 990600"/>
                    <a:gd name="connsiteX6" fmla="*/ 135560 w 200025"/>
                    <a:gd name="connsiteY6" fmla="*/ 18597 h 990600"/>
                    <a:gd name="connsiteX7" fmla="*/ 130426 w 200025"/>
                    <a:gd name="connsiteY7" fmla="*/ 27293 h 990600"/>
                    <a:gd name="connsiteX8" fmla="*/ 128178 w 200025"/>
                    <a:gd name="connsiteY8" fmla="*/ 31798 h 990600"/>
                    <a:gd name="connsiteX9" fmla="*/ 125359 w 200025"/>
                    <a:gd name="connsiteY9" fmla="*/ 36085 h 990600"/>
                    <a:gd name="connsiteX10" fmla="*/ 120615 w 200025"/>
                    <a:gd name="connsiteY10" fmla="*/ 44524 h 990600"/>
                    <a:gd name="connsiteX11" fmla="*/ 120453 w 200025"/>
                    <a:gd name="connsiteY11" fmla="*/ 44810 h 990600"/>
                    <a:gd name="connsiteX12" fmla="*/ 120453 w 200025"/>
                    <a:gd name="connsiteY12" fmla="*/ 44819 h 990600"/>
                    <a:gd name="connsiteX13" fmla="*/ 120425 w 200025"/>
                    <a:gd name="connsiteY13" fmla="*/ 44876 h 990600"/>
                    <a:gd name="connsiteX14" fmla="*/ 0 w 200025"/>
                    <a:gd name="connsiteY14" fmla="*/ 511296 h 990600"/>
                    <a:gd name="connsiteX15" fmla="*/ 117605 w 200025"/>
                    <a:gd name="connsiteY15" fmla="*/ 972621 h 990600"/>
                    <a:gd name="connsiteX16" fmla="*/ 151057 w 200025"/>
                    <a:gd name="connsiteY16" fmla="*/ 992433 h 990600"/>
                    <a:gd name="connsiteX17" fmla="*/ 169316 w 200025"/>
                    <a:gd name="connsiteY17" fmla="*/ 987747 h 990600"/>
                    <a:gd name="connsiteX18" fmla="*/ 184442 w 200025"/>
                    <a:gd name="connsiteY18" fmla="*/ 936026 h 990600"/>
                    <a:gd name="connsiteX19" fmla="*/ 76191 w 200025"/>
                    <a:gd name="connsiteY19" fmla="*/ 511296 h 990600"/>
                    <a:gd name="connsiteX20" fmla="*/ 187062 w 200025"/>
                    <a:gd name="connsiteY20" fmla="*/ 81852 h 990600"/>
                    <a:gd name="connsiteX21" fmla="*/ 187062 w 200025"/>
                    <a:gd name="connsiteY21" fmla="*/ 81852 h 990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00025" h="990600">
                      <a:moveTo>
                        <a:pt x="187062" y="81852"/>
                      </a:moveTo>
                      <a:lnTo>
                        <a:pt x="191653" y="73670"/>
                      </a:lnTo>
                      <a:cubicBezTo>
                        <a:pt x="192424" y="72318"/>
                        <a:pt x="193091" y="70946"/>
                        <a:pt x="193672" y="69546"/>
                      </a:cubicBezTo>
                      <a:cubicBezTo>
                        <a:pt x="194605" y="68317"/>
                        <a:pt x="195482" y="67012"/>
                        <a:pt x="196272" y="65641"/>
                      </a:cubicBezTo>
                      <a:cubicBezTo>
                        <a:pt x="197834" y="62955"/>
                        <a:pt x="199415" y="60278"/>
                        <a:pt x="201006" y="57621"/>
                      </a:cubicBezTo>
                      <a:cubicBezTo>
                        <a:pt x="211779" y="39552"/>
                        <a:pt x="205873" y="16158"/>
                        <a:pt x="187795" y="5386"/>
                      </a:cubicBezTo>
                      <a:cubicBezTo>
                        <a:pt x="169717" y="-5397"/>
                        <a:pt x="146323" y="518"/>
                        <a:pt x="135560" y="18597"/>
                      </a:cubicBezTo>
                      <a:cubicBezTo>
                        <a:pt x="133836" y="21492"/>
                        <a:pt x="132121" y="24388"/>
                        <a:pt x="130426" y="27293"/>
                      </a:cubicBezTo>
                      <a:cubicBezTo>
                        <a:pt x="129569" y="28770"/>
                        <a:pt x="128826" y="30274"/>
                        <a:pt x="128178" y="31798"/>
                      </a:cubicBezTo>
                      <a:cubicBezTo>
                        <a:pt x="127159" y="33151"/>
                        <a:pt x="126216" y="34580"/>
                        <a:pt x="125359" y="36085"/>
                      </a:cubicBezTo>
                      <a:lnTo>
                        <a:pt x="120615" y="44524"/>
                      </a:lnTo>
                      <a:cubicBezTo>
                        <a:pt x="120558" y="44619"/>
                        <a:pt x="120510" y="44714"/>
                        <a:pt x="120453" y="44810"/>
                      </a:cubicBezTo>
                      <a:lnTo>
                        <a:pt x="120453" y="44819"/>
                      </a:lnTo>
                      <a:cubicBezTo>
                        <a:pt x="120444" y="44838"/>
                        <a:pt x="120434" y="44857"/>
                        <a:pt x="120425" y="44876"/>
                      </a:cubicBezTo>
                      <a:cubicBezTo>
                        <a:pt x="41643" y="186751"/>
                        <a:pt x="0" y="348038"/>
                        <a:pt x="0" y="511296"/>
                      </a:cubicBezTo>
                      <a:cubicBezTo>
                        <a:pt x="0" y="672526"/>
                        <a:pt x="40672" y="832051"/>
                        <a:pt x="117605" y="972621"/>
                      </a:cubicBezTo>
                      <a:cubicBezTo>
                        <a:pt x="124530" y="985270"/>
                        <a:pt x="137589" y="992433"/>
                        <a:pt x="151057" y="992433"/>
                      </a:cubicBezTo>
                      <a:cubicBezTo>
                        <a:pt x="157239" y="992433"/>
                        <a:pt x="163516" y="990928"/>
                        <a:pt x="169316" y="987747"/>
                      </a:cubicBezTo>
                      <a:cubicBezTo>
                        <a:pt x="187776" y="977641"/>
                        <a:pt x="194548" y="954495"/>
                        <a:pt x="184442" y="936026"/>
                      </a:cubicBezTo>
                      <a:cubicBezTo>
                        <a:pt x="113624" y="806648"/>
                        <a:pt x="76191" y="659772"/>
                        <a:pt x="76191" y="511296"/>
                      </a:cubicBezTo>
                      <a:cubicBezTo>
                        <a:pt x="76200" y="360954"/>
                        <a:pt x="114538" y="212459"/>
                        <a:pt x="187062" y="81852"/>
                      </a:cubicBezTo>
                      <a:cubicBezTo>
                        <a:pt x="187052" y="81862"/>
                        <a:pt x="187062" y="81862"/>
                        <a:pt x="187062" y="8185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7" name="Freeform: Shape 43">
                  <a:extLst>
                    <a:ext uri="{FF2B5EF4-FFF2-40B4-BE49-F238E27FC236}">
                      <a16:creationId xmlns:a16="http://schemas.microsoft.com/office/drawing/2014/main" id="{9234DB0E-B0CE-544A-A864-7088560D94DD}"/>
                    </a:ext>
                  </a:extLst>
                </p:cNvPr>
                <p:cNvSpPr/>
                <p:nvPr/>
              </p:nvSpPr>
              <p:spPr>
                <a:xfrm>
                  <a:off x="2010697" y="2548462"/>
                  <a:ext cx="1438275" cy="523875"/>
                </a:xfrm>
                <a:custGeom>
                  <a:avLst/>
                  <a:gdLst>
                    <a:gd name="connsiteX0" fmla="*/ 61692 w 1438275"/>
                    <a:gd name="connsiteY0" fmla="*/ 265738 h 523875"/>
                    <a:gd name="connsiteX1" fmla="*/ 609379 w 1438275"/>
                    <a:gd name="connsiteY1" fmla="*/ 76219 h 523875"/>
                    <a:gd name="connsiteX2" fmla="*/ 1357835 w 1438275"/>
                    <a:gd name="connsiteY2" fmla="*/ 487909 h 523875"/>
                    <a:gd name="connsiteX3" fmla="*/ 1357883 w 1438275"/>
                    <a:gd name="connsiteY3" fmla="*/ 487966 h 523875"/>
                    <a:gd name="connsiteX4" fmla="*/ 1362836 w 1438275"/>
                    <a:gd name="connsiteY4" fmla="*/ 495843 h 523875"/>
                    <a:gd name="connsiteX5" fmla="*/ 1365455 w 1438275"/>
                    <a:gd name="connsiteY5" fmla="*/ 499558 h 523875"/>
                    <a:gd name="connsiteX6" fmla="*/ 1367617 w 1438275"/>
                    <a:gd name="connsiteY6" fmla="*/ 503663 h 523875"/>
                    <a:gd name="connsiteX7" fmla="*/ 1372370 w 1438275"/>
                    <a:gd name="connsiteY7" fmla="*/ 511607 h 523875"/>
                    <a:gd name="connsiteX8" fmla="*/ 1405212 w 1438275"/>
                    <a:gd name="connsiteY8" fmla="*/ 530333 h 523875"/>
                    <a:gd name="connsiteX9" fmla="*/ 1424548 w 1438275"/>
                    <a:gd name="connsiteY9" fmla="*/ 525037 h 523875"/>
                    <a:gd name="connsiteX10" fmla="*/ 1437978 w 1438275"/>
                    <a:gd name="connsiteY10" fmla="*/ 472850 h 523875"/>
                    <a:gd name="connsiteX11" fmla="*/ 1432816 w 1438275"/>
                    <a:gd name="connsiteY11" fmla="*/ 464220 h 523875"/>
                    <a:gd name="connsiteX12" fmla="*/ 1429930 w 1438275"/>
                    <a:gd name="connsiteY12" fmla="*/ 460086 h 523875"/>
                    <a:gd name="connsiteX13" fmla="*/ 1427510 w 1438275"/>
                    <a:gd name="connsiteY13" fmla="*/ 455562 h 523875"/>
                    <a:gd name="connsiteX14" fmla="*/ 1422224 w 1438275"/>
                    <a:gd name="connsiteY14" fmla="*/ 447142 h 523875"/>
                    <a:gd name="connsiteX15" fmla="*/ 1422186 w 1438275"/>
                    <a:gd name="connsiteY15" fmla="*/ 447084 h 523875"/>
                    <a:gd name="connsiteX16" fmla="*/ 609370 w 1438275"/>
                    <a:gd name="connsiteY16" fmla="*/ 0 h 523875"/>
                    <a:gd name="connsiteX17" fmla="*/ 14524 w 1438275"/>
                    <a:gd name="connsiteY17" fmla="*/ 205854 h 523875"/>
                    <a:gd name="connsiteX18" fmla="*/ 8171 w 1438275"/>
                    <a:gd name="connsiteY18" fmla="*/ 259366 h 523875"/>
                    <a:gd name="connsiteX19" fmla="*/ 61692 w 1438275"/>
                    <a:gd name="connsiteY19" fmla="*/ 265738 h 52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438275" h="523875">
                      <a:moveTo>
                        <a:pt x="61692" y="265738"/>
                      </a:moveTo>
                      <a:cubicBezTo>
                        <a:pt x="219121" y="141751"/>
                        <a:pt x="408507" y="76219"/>
                        <a:pt x="609379" y="76219"/>
                      </a:cubicBezTo>
                      <a:cubicBezTo>
                        <a:pt x="914341" y="76219"/>
                        <a:pt x="1194138" y="230124"/>
                        <a:pt x="1357835" y="487909"/>
                      </a:cubicBezTo>
                      <a:cubicBezTo>
                        <a:pt x="1357854" y="487928"/>
                        <a:pt x="1357863" y="487947"/>
                        <a:pt x="1357883" y="487966"/>
                      </a:cubicBezTo>
                      <a:lnTo>
                        <a:pt x="1362836" y="495843"/>
                      </a:lnTo>
                      <a:cubicBezTo>
                        <a:pt x="1363645" y="497148"/>
                        <a:pt x="1364521" y="498386"/>
                        <a:pt x="1365455" y="499558"/>
                      </a:cubicBezTo>
                      <a:cubicBezTo>
                        <a:pt x="1366084" y="500948"/>
                        <a:pt x="1366807" y="502320"/>
                        <a:pt x="1367617" y="503663"/>
                      </a:cubicBezTo>
                      <a:cubicBezTo>
                        <a:pt x="1369217" y="506301"/>
                        <a:pt x="1370798" y="508949"/>
                        <a:pt x="1372370" y="511607"/>
                      </a:cubicBezTo>
                      <a:cubicBezTo>
                        <a:pt x="1379476" y="523646"/>
                        <a:pt x="1392173" y="530333"/>
                        <a:pt x="1405212" y="530333"/>
                      </a:cubicBezTo>
                      <a:cubicBezTo>
                        <a:pt x="1411794" y="530333"/>
                        <a:pt x="1418471" y="528628"/>
                        <a:pt x="1424548" y="525037"/>
                      </a:cubicBezTo>
                      <a:cubicBezTo>
                        <a:pt x="1442665" y="514331"/>
                        <a:pt x="1448675" y="490976"/>
                        <a:pt x="1437978" y="472850"/>
                      </a:cubicBezTo>
                      <a:cubicBezTo>
                        <a:pt x="1436273" y="469963"/>
                        <a:pt x="1434549" y="467087"/>
                        <a:pt x="1432816" y="464220"/>
                      </a:cubicBezTo>
                      <a:cubicBezTo>
                        <a:pt x="1431930" y="462763"/>
                        <a:pt x="1430968" y="461381"/>
                        <a:pt x="1429930" y="460086"/>
                      </a:cubicBezTo>
                      <a:cubicBezTo>
                        <a:pt x="1429234" y="458543"/>
                        <a:pt x="1428434" y="457038"/>
                        <a:pt x="1427510" y="455562"/>
                      </a:cubicBezTo>
                      <a:cubicBezTo>
                        <a:pt x="1425758" y="452752"/>
                        <a:pt x="1424005" y="449942"/>
                        <a:pt x="1422224" y="447142"/>
                      </a:cubicBezTo>
                      <a:cubicBezTo>
                        <a:pt x="1422205" y="447123"/>
                        <a:pt x="1422195" y="447104"/>
                        <a:pt x="1422186" y="447084"/>
                      </a:cubicBezTo>
                      <a:cubicBezTo>
                        <a:pt x="1244421" y="167135"/>
                        <a:pt x="940573" y="0"/>
                        <a:pt x="609370" y="0"/>
                      </a:cubicBezTo>
                      <a:cubicBezTo>
                        <a:pt x="391219" y="0"/>
                        <a:pt x="185527" y="71190"/>
                        <a:pt x="14524" y="205854"/>
                      </a:cubicBezTo>
                      <a:cubicBezTo>
                        <a:pt x="-2002" y="218875"/>
                        <a:pt x="-4850" y="242830"/>
                        <a:pt x="8171" y="259366"/>
                      </a:cubicBezTo>
                      <a:cubicBezTo>
                        <a:pt x="21211" y="275911"/>
                        <a:pt x="45157" y="278749"/>
                        <a:pt x="61692" y="2657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8" name="Freeform: Shape 44">
                  <a:extLst>
                    <a:ext uri="{FF2B5EF4-FFF2-40B4-BE49-F238E27FC236}">
                      <a16:creationId xmlns:a16="http://schemas.microsoft.com/office/drawing/2014/main" id="{7C00F8DD-1515-764C-BE87-E54A285DBCBC}"/>
                    </a:ext>
                  </a:extLst>
                </p:cNvPr>
                <p:cNvSpPr/>
                <p:nvPr/>
              </p:nvSpPr>
              <p:spPr>
                <a:xfrm>
                  <a:off x="1983797" y="4176854"/>
                  <a:ext cx="971550" cy="295275"/>
                </a:xfrm>
                <a:custGeom>
                  <a:avLst/>
                  <a:gdLst>
                    <a:gd name="connsiteX0" fmla="*/ 84325 w 971550"/>
                    <a:gd name="connsiteY0" fmla="*/ 26824 h 295275"/>
                    <a:gd name="connsiteX1" fmla="*/ 77048 w 971550"/>
                    <a:gd name="connsiteY1" fmla="*/ 20967 h 295275"/>
                    <a:gd name="connsiteX2" fmla="*/ 73285 w 971550"/>
                    <a:gd name="connsiteY2" fmla="*/ 18262 h 295275"/>
                    <a:gd name="connsiteX3" fmla="*/ 69866 w 971550"/>
                    <a:gd name="connsiteY3" fmla="*/ 15042 h 295275"/>
                    <a:gd name="connsiteX4" fmla="*/ 62722 w 971550"/>
                    <a:gd name="connsiteY4" fmla="*/ 9032 h 295275"/>
                    <a:gd name="connsiteX5" fmla="*/ 9030 w 971550"/>
                    <a:gd name="connsiteY5" fmla="*/ 13489 h 295275"/>
                    <a:gd name="connsiteX6" fmla="*/ 13478 w 971550"/>
                    <a:gd name="connsiteY6" fmla="*/ 67191 h 295275"/>
                    <a:gd name="connsiteX7" fmla="*/ 21155 w 971550"/>
                    <a:gd name="connsiteY7" fmla="*/ 73649 h 295275"/>
                    <a:gd name="connsiteX8" fmla="*/ 25212 w 971550"/>
                    <a:gd name="connsiteY8" fmla="*/ 76602 h 295275"/>
                    <a:gd name="connsiteX9" fmla="*/ 28937 w 971550"/>
                    <a:gd name="connsiteY9" fmla="*/ 80060 h 295275"/>
                    <a:gd name="connsiteX10" fmla="*/ 36481 w 971550"/>
                    <a:gd name="connsiteY10" fmla="*/ 86146 h 295275"/>
                    <a:gd name="connsiteX11" fmla="*/ 36785 w 971550"/>
                    <a:gd name="connsiteY11" fmla="*/ 86384 h 295275"/>
                    <a:gd name="connsiteX12" fmla="*/ 636289 w 971550"/>
                    <a:gd name="connsiteY12" fmla="*/ 295944 h 295275"/>
                    <a:gd name="connsiteX13" fmla="*/ 951195 w 971550"/>
                    <a:gd name="connsiteY13" fmla="*/ 243223 h 295275"/>
                    <a:gd name="connsiteX14" fmla="*/ 974741 w 971550"/>
                    <a:gd name="connsiteY14" fmla="*/ 194750 h 295275"/>
                    <a:gd name="connsiteX15" fmla="*/ 926268 w 971550"/>
                    <a:gd name="connsiteY15" fmla="*/ 171205 h 295275"/>
                    <a:gd name="connsiteX16" fmla="*/ 636299 w 971550"/>
                    <a:gd name="connsiteY16" fmla="*/ 219744 h 295275"/>
                    <a:gd name="connsiteX17" fmla="*/ 84382 w 971550"/>
                    <a:gd name="connsiteY17" fmla="*/ 26872 h 295275"/>
                    <a:gd name="connsiteX18" fmla="*/ 84325 w 971550"/>
                    <a:gd name="connsiteY18" fmla="*/ 26824 h 29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71550" h="295275">
                      <a:moveTo>
                        <a:pt x="84325" y="26824"/>
                      </a:moveTo>
                      <a:lnTo>
                        <a:pt x="77048" y="20967"/>
                      </a:lnTo>
                      <a:cubicBezTo>
                        <a:pt x="75838" y="19976"/>
                        <a:pt x="74581" y="19081"/>
                        <a:pt x="73285" y="18262"/>
                      </a:cubicBezTo>
                      <a:cubicBezTo>
                        <a:pt x="72228" y="17137"/>
                        <a:pt x="71085" y="16061"/>
                        <a:pt x="69866" y="15042"/>
                      </a:cubicBezTo>
                      <a:lnTo>
                        <a:pt x="62722" y="9032"/>
                      </a:lnTo>
                      <a:cubicBezTo>
                        <a:pt x="46663" y="-4570"/>
                        <a:pt x="22631" y="-2589"/>
                        <a:pt x="9030" y="13489"/>
                      </a:cubicBezTo>
                      <a:cubicBezTo>
                        <a:pt x="-4572" y="29549"/>
                        <a:pt x="-2581" y="53590"/>
                        <a:pt x="13478" y="67191"/>
                      </a:cubicBezTo>
                      <a:lnTo>
                        <a:pt x="21155" y="73649"/>
                      </a:lnTo>
                      <a:cubicBezTo>
                        <a:pt x="22460" y="74726"/>
                        <a:pt x="23822" y="75716"/>
                        <a:pt x="25212" y="76602"/>
                      </a:cubicBezTo>
                      <a:cubicBezTo>
                        <a:pt x="26365" y="77821"/>
                        <a:pt x="27603" y="78983"/>
                        <a:pt x="28937" y="80060"/>
                      </a:cubicBezTo>
                      <a:lnTo>
                        <a:pt x="36481" y="86146"/>
                      </a:lnTo>
                      <a:cubicBezTo>
                        <a:pt x="36585" y="86232"/>
                        <a:pt x="36681" y="86318"/>
                        <a:pt x="36785" y="86384"/>
                      </a:cubicBezTo>
                      <a:cubicBezTo>
                        <a:pt x="208674" y="223487"/>
                        <a:pt x="415976" y="295944"/>
                        <a:pt x="636289" y="295944"/>
                      </a:cubicBezTo>
                      <a:cubicBezTo>
                        <a:pt x="744188" y="295944"/>
                        <a:pt x="850135" y="278208"/>
                        <a:pt x="951195" y="243223"/>
                      </a:cubicBezTo>
                      <a:cubicBezTo>
                        <a:pt x="971083" y="236327"/>
                        <a:pt x="981618" y="214639"/>
                        <a:pt x="974741" y="194750"/>
                      </a:cubicBezTo>
                      <a:cubicBezTo>
                        <a:pt x="967854" y="174871"/>
                        <a:pt x="946185" y="164365"/>
                        <a:pt x="926268" y="171205"/>
                      </a:cubicBezTo>
                      <a:cubicBezTo>
                        <a:pt x="833247" y="203418"/>
                        <a:pt x="735692" y="219744"/>
                        <a:pt x="636299" y="219744"/>
                      </a:cubicBezTo>
                      <a:cubicBezTo>
                        <a:pt x="433454" y="219744"/>
                        <a:pt x="242611" y="153059"/>
                        <a:pt x="84382" y="26872"/>
                      </a:cubicBezTo>
                      <a:cubicBezTo>
                        <a:pt x="84353" y="26853"/>
                        <a:pt x="84334" y="26844"/>
                        <a:pt x="84325" y="2682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pPr marL="0" algn="r" defTabSz="914400" rtl="1" eaLnBrk="1" latinLnBrk="0" hangingPunct="1"/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19" name="Freeform: Shape 45">
                  <a:extLst>
                    <a:ext uri="{FF2B5EF4-FFF2-40B4-BE49-F238E27FC236}">
                      <a16:creationId xmlns:a16="http://schemas.microsoft.com/office/drawing/2014/main" id="{A9A35CC5-2E62-0544-BE47-692DD8CAB2F1}"/>
                    </a:ext>
                  </a:extLst>
                </p:cNvPr>
                <p:cNvSpPr/>
                <p:nvPr/>
              </p:nvSpPr>
              <p:spPr>
                <a:xfrm>
                  <a:off x="1967074" y="2749802"/>
                  <a:ext cx="1381125" cy="600075"/>
                </a:xfrm>
                <a:custGeom>
                  <a:avLst/>
                  <a:gdLst>
                    <a:gd name="connsiteX0" fmla="*/ 18047 w 1381125"/>
                    <a:gd name="connsiteY0" fmla="*/ 413233 h 600075"/>
                    <a:gd name="connsiteX1" fmla="*/ 70501 w 1381125"/>
                    <a:gd name="connsiteY1" fmla="*/ 400898 h 600075"/>
                    <a:gd name="connsiteX2" fmla="*/ 653002 w 1381125"/>
                    <a:gd name="connsiteY2" fmla="*/ 76200 h 600075"/>
                    <a:gd name="connsiteX3" fmla="*/ 1304474 w 1381125"/>
                    <a:gd name="connsiteY3" fmla="*/ 549707 h 600075"/>
                    <a:gd name="connsiteX4" fmla="*/ 1304484 w 1381125"/>
                    <a:gd name="connsiteY4" fmla="*/ 549716 h 600075"/>
                    <a:gd name="connsiteX5" fmla="*/ 1307217 w 1381125"/>
                    <a:gd name="connsiteY5" fmla="*/ 558365 h 600075"/>
                    <a:gd name="connsiteX6" fmla="*/ 1308780 w 1381125"/>
                    <a:gd name="connsiteY6" fmla="*/ 562547 h 600075"/>
                    <a:gd name="connsiteX7" fmla="*/ 1309799 w 1381125"/>
                    <a:gd name="connsiteY7" fmla="*/ 566909 h 600075"/>
                    <a:gd name="connsiteX8" fmla="*/ 1312285 w 1381125"/>
                    <a:gd name="connsiteY8" fmla="*/ 575529 h 600075"/>
                    <a:gd name="connsiteX9" fmla="*/ 1348947 w 1381125"/>
                    <a:gd name="connsiteY9" fmla="*/ 603313 h 600075"/>
                    <a:gd name="connsiteX10" fmla="*/ 1359281 w 1381125"/>
                    <a:gd name="connsiteY10" fmla="*/ 601885 h 600075"/>
                    <a:gd name="connsiteX11" fmla="*/ 1385646 w 1381125"/>
                    <a:gd name="connsiteY11" fmla="*/ 554888 h 600075"/>
                    <a:gd name="connsiteX12" fmla="*/ 1382884 w 1381125"/>
                    <a:gd name="connsiteY12" fmla="*/ 545316 h 600075"/>
                    <a:gd name="connsiteX13" fmla="*/ 1381160 w 1381125"/>
                    <a:gd name="connsiteY13" fmla="*/ 540620 h 600075"/>
                    <a:gd name="connsiteX14" fmla="*/ 1379979 w 1381125"/>
                    <a:gd name="connsiteY14" fmla="*/ 535743 h 600075"/>
                    <a:gd name="connsiteX15" fmla="*/ 1377007 w 1381125"/>
                    <a:gd name="connsiteY15" fmla="*/ 526351 h 600075"/>
                    <a:gd name="connsiteX16" fmla="*/ 1376988 w 1381125"/>
                    <a:gd name="connsiteY16" fmla="*/ 526285 h 600075"/>
                    <a:gd name="connsiteX17" fmla="*/ 653002 w 1381125"/>
                    <a:gd name="connsiteY17" fmla="*/ 0 h 600075"/>
                    <a:gd name="connsiteX18" fmla="*/ 5712 w 1381125"/>
                    <a:gd name="connsiteY18" fmla="*/ 360778 h 600075"/>
                    <a:gd name="connsiteX19" fmla="*/ 18047 w 1381125"/>
                    <a:gd name="connsiteY19" fmla="*/ 413233 h 600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81125" h="600075">
                      <a:moveTo>
                        <a:pt x="18047" y="413233"/>
                      </a:moveTo>
                      <a:cubicBezTo>
                        <a:pt x="35935" y="424320"/>
                        <a:pt x="59423" y="418786"/>
                        <a:pt x="70501" y="400898"/>
                      </a:cubicBezTo>
                      <a:cubicBezTo>
                        <a:pt x="196412" y="197577"/>
                        <a:pt x="414172" y="76200"/>
                        <a:pt x="653002" y="76200"/>
                      </a:cubicBezTo>
                      <a:cubicBezTo>
                        <a:pt x="950964" y="76200"/>
                        <a:pt x="1212768" y="266490"/>
                        <a:pt x="1304474" y="549707"/>
                      </a:cubicBezTo>
                      <a:cubicBezTo>
                        <a:pt x="1304474" y="549707"/>
                        <a:pt x="1304484" y="549707"/>
                        <a:pt x="1304484" y="549716"/>
                      </a:cubicBezTo>
                      <a:cubicBezTo>
                        <a:pt x="1305408" y="552593"/>
                        <a:pt x="1306313" y="555469"/>
                        <a:pt x="1307217" y="558365"/>
                      </a:cubicBezTo>
                      <a:cubicBezTo>
                        <a:pt x="1307665" y="559803"/>
                        <a:pt x="1308189" y="561204"/>
                        <a:pt x="1308780" y="562547"/>
                      </a:cubicBezTo>
                      <a:cubicBezTo>
                        <a:pt x="1309027" y="563994"/>
                        <a:pt x="1309380" y="565461"/>
                        <a:pt x="1309799" y="566909"/>
                      </a:cubicBezTo>
                      <a:cubicBezTo>
                        <a:pt x="1310647" y="569776"/>
                        <a:pt x="1311475" y="572653"/>
                        <a:pt x="1312285" y="575529"/>
                      </a:cubicBezTo>
                      <a:cubicBezTo>
                        <a:pt x="1317009" y="592331"/>
                        <a:pt x="1332306" y="603313"/>
                        <a:pt x="1348947" y="603313"/>
                      </a:cubicBezTo>
                      <a:cubicBezTo>
                        <a:pt x="1352357" y="603313"/>
                        <a:pt x="1355843" y="602847"/>
                        <a:pt x="1359281" y="601885"/>
                      </a:cubicBezTo>
                      <a:cubicBezTo>
                        <a:pt x="1379541" y="596189"/>
                        <a:pt x="1391342" y="575148"/>
                        <a:pt x="1385646" y="554888"/>
                      </a:cubicBezTo>
                      <a:cubicBezTo>
                        <a:pt x="1384741" y="551688"/>
                        <a:pt x="1383827" y="548497"/>
                        <a:pt x="1382884" y="545316"/>
                      </a:cubicBezTo>
                      <a:cubicBezTo>
                        <a:pt x="1382408" y="543696"/>
                        <a:pt x="1381836" y="542125"/>
                        <a:pt x="1381160" y="540620"/>
                      </a:cubicBezTo>
                      <a:cubicBezTo>
                        <a:pt x="1380884" y="538991"/>
                        <a:pt x="1380493" y="537362"/>
                        <a:pt x="1379979" y="535743"/>
                      </a:cubicBezTo>
                      <a:cubicBezTo>
                        <a:pt x="1378998" y="532600"/>
                        <a:pt x="1378017" y="529476"/>
                        <a:pt x="1377007" y="526351"/>
                      </a:cubicBezTo>
                      <a:cubicBezTo>
                        <a:pt x="1377007" y="526332"/>
                        <a:pt x="1376998" y="526304"/>
                        <a:pt x="1376988" y="526285"/>
                      </a:cubicBezTo>
                      <a:cubicBezTo>
                        <a:pt x="1275080" y="211493"/>
                        <a:pt x="984139" y="0"/>
                        <a:pt x="653002" y="0"/>
                      </a:cubicBezTo>
                      <a:cubicBezTo>
                        <a:pt x="387598" y="0"/>
                        <a:pt x="145625" y="134874"/>
                        <a:pt x="5712" y="360778"/>
                      </a:cubicBezTo>
                      <a:cubicBezTo>
                        <a:pt x="-5366" y="378666"/>
                        <a:pt x="159" y="402155"/>
                        <a:pt x="18047" y="4132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0" name="Freeform: Shape 46">
                  <a:extLst>
                    <a:ext uri="{FF2B5EF4-FFF2-40B4-BE49-F238E27FC236}">
                      <a16:creationId xmlns:a16="http://schemas.microsoft.com/office/drawing/2014/main" id="{9590FA9A-379E-5441-B73F-5D6763084A81}"/>
                    </a:ext>
                  </a:extLst>
                </p:cNvPr>
                <p:cNvSpPr/>
                <p:nvPr/>
              </p:nvSpPr>
              <p:spPr>
                <a:xfrm>
                  <a:off x="1859238" y="3403918"/>
                  <a:ext cx="533400" cy="809625"/>
                </a:xfrm>
                <a:custGeom>
                  <a:avLst/>
                  <a:gdLst>
                    <a:gd name="connsiteX0" fmla="*/ 3391 w 533400"/>
                    <a:gd name="connsiteY0" fmla="*/ 34512 h 809625"/>
                    <a:gd name="connsiteX1" fmla="*/ 2515 w 533400"/>
                    <a:gd name="connsiteY1" fmla="*/ 44457 h 809625"/>
                    <a:gd name="connsiteX2" fmla="*/ 2429 w 533400"/>
                    <a:gd name="connsiteY2" fmla="*/ 49448 h 809625"/>
                    <a:gd name="connsiteX3" fmla="*/ 1772 w 533400"/>
                    <a:gd name="connsiteY3" fmla="*/ 54391 h 809625"/>
                    <a:gd name="connsiteX4" fmla="*/ 1162 w 533400"/>
                    <a:gd name="connsiteY4" fmla="*/ 64250 h 809625"/>
                    <a:gd name="connsiteX5" fmla="*/ 1162 w 533400"/>
                    <a:gd name="connsiteY5" fmla="*/ 64345 h 809625"/>
                    <a:gd name="connsiteX6" fmla="*/ 0 w 533400"/>
                    <a:gd name="connsiteY6" fmla="*/ 106702 h 809625"/>
                    <a:gd name="connsiteX7" fmla="*/ 136493 w 533400"/>
                    <a:gd name="connsiteY7" fmla="*/ 541633 h 809625"/>
                    <a:gd name="connsiteX8" fmla="*/ 486337 w 533400"/>
                    <a:gd name="connsiteY8" fmla="*/ 816506 h 809625"/>
                    <a:gd name="connsiteX9" fmla="*/ 500072 w 533400"/>
                    <a:gd name="connsiteY9" fmla="*/ 819087 h 809625"/>
                    <a:gd name="connsiteX10" fmla="*/ 535610 w 533400"/>
                    <a:gd name="connsiteY10" fmla="*/ 794722 h 809625"/>
                    <a:gd name="connsiteX11" fmla="*/ 513826 w 533400"/>
                    <a:gd name="connsiteY11" fmla="*/ 745440 h 809625"/>
                    <a:gd name="connsiteX12" fmla="*/ 76191 w 533400"/>
                    <a:gd name="connsiteY12" fmla="*/ 106702 h 809625"/>
                    <a:gd name="connsiteX13" fmla="*/ 77238 w 533400"/>
                    <a:gd name="connsiteY13" fmla="*/ 68507 h 809625"/>
                    <a:gd name="connsiteX14" fmla="*/ 77238 w 533400"/>
                    <a:gd name="connsiteY14" fmla="*/ 68412 h 809625"/>
                    <a:gd name="connsiteX15" fmla="*/ 77781 w 533400"/>
                    <a:gd name="connsiteY15" fmla="*/ 59554 h 809625"/>
                    <a:gd name="connsiteX16" fmla="*/ 77819 w 533400"/>
                    <a:gd name="connsiteY16" fmla="*/ 55058 h 809625"/>
                    <a:gd name="connsiteX17" fmla="*/ 78438 w 533400"/>
                    <a:gd name="connsiteY17" fmla="*/ 50619 h 809625"/>
                    <a:gd name="connsiteX18" fmla="*/ 79219 w 533400"/>
                    <a:gd name="connsiteY18" fmla="*/ 41694 h 809625"/>
                    <a:gd name="connsiteX19" fmla="*/ 44891 w 533400"/>
                    <a:gd name="connsiteY19" fmla="*/ 175 h 809625"/>
                    <a:gd name="connsiteX20" fmla="*/ 3391 w 533400"/>
                    <a:gd name="connsiteY20" fmla="*/ 34512 h 80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33400" h="809625">
                      <a:moveTo>
                        <a:pt x="3391" y="34512"/>
                      </a:moveTo>
                      <a:cubicBezTo>
                        <a:pt x="3077" y="37818"/>
                        <a:pt x="2791" y="41132"/>
                        <a:pt x="2515" y="44457"/>
                      </a:cubicBezTo>
                      <a:cubicBezTo>
                        <a:pt x="2372" y="46143"/>
                        <a:pt x="2353" y="47809"/>
                        <a:pt x="2429" y="49448"/>
                      </a:cubicBezTo>
                      <a:cubicBezTo>
                        <a:pt x="2105" y="51057"/>
                        <a:pt x="1886" y="52705"/>
                        <a:pt x="1772" y="54391"/>
                      </a:cubicBezTo>
                      <a:cubicBezTo>
                        <a:pt x="1553" y="57677"/>
                        <a:pt x="1343" y="60954"/>
                        <a:pt x="1162" y="64250"/>
                      </a:cubicBezTo>
                      <a:cubicBezTo>
                        <a:pt x="1162" y="64278"/>
                        <a:pt x="1162" y="64307"/>
                        <a:pt x="1162" y="64345"/>
                      </a:cubicBezTo>
                      <a:cubicBezTo>
                        <a:pt x="391" y="78394"/>
                        <a:pt x="0" y="92643"/>
                        <a:pt x="0" y="106702"/>
                      </a:cubicBezTo>
                      <a:cubicBezTo>
                        <a:pt x="0" y="263275"/>
                        <a:pt x="47196" y="413674"/>
                        <a:pt x="136493" y="541633"/>
                      </a:cubicBezTo>
                      <a:cubicBezTo>
                        <a:pt x="223733" y="666649"/>
                        <a:pt x="344710" y="761699"/>
                        <a:pt x="486337" y="816506"/>
                      </a:cubicBezTo>
                      <a:cubicBezTo>
                        <a:pt x="490852" y="818258"/>
                        <a:pt x="495500" y="819087"/>
                        <a:pt x="500072" y="819087"/>
                      </a:cubicBezTo>
                      <a:cubicBezTo>
                        <a:pt x="515350" y="819087"/>
                        <a:pt x="529771" y="809828"/>
                        <a:pt x="535610" y="794722"/>
                      </a:cubicBezTo>
                      <a:cubicBezTo>
                        <a:pt x="543201" y="775100"/>
                        <a:pt x="533448" y="753031"/>
                        <a:pt x="513826" y="745440"/>
                      </a:cubicBezTo>
                      <a:cubicBezTo>
                        <a:pt x="252070" y="644141"/>
                        <a:pt x="76191" y="387452"/>
                        <a:pt x="76191" y="106702"/>
                      </a:cubicBezTo>
                      <a:cubicBezTo>
                        <a:pt x="76191" y="94025"/>
                        <a:pt x="76543" y="81175"/>
                        <a:pt x="77238" y="68507"/>
                      </a:cubicBezTo>
                      <a:cubicBezTo>
                        <a:pt x="77238" y="68479"/>
                        <a:pt x="77238" y="68440"/>
                        <a:pt x="77238" y="68412"/>
                      </a:cubicBezTo>
                      <a:cubicBezTo>
                        <a:pt x="77400" y="65450"/>
                        <a:pt x="77581" y="62497"/>
                        <a:pt x="77781" y="59554"/>
                      </a:cubicBezTo>
                      <a:cubicBezTo>
                        <a:pt x="77886" y="58039"/>
                        <a:pt x="77896" y="56544"/>
                        <a:pt x="77819" y="55058"/>
                      </a:cubicBezTo>
                      <a:cubicBezTo>
                        <a:pt x="78115" y="53610"/>
                        <a:pt x="78324" y="52124"/>
                        <a:pt x="78438" y="50619"/>
                      </a:cubicBezTo>
                      <a:cubicBezTo>
                        <a:pt x="78677" y="47638"/>
                        <a:pt x="78943" y="44666"/>
                        <a:pt x="79219" y="41694"/>
                      </a:cubicBezTo>
                      <a:cubicBezTo>
                        <a:pt x="81201" y="20749"/>
                        <a:pt x="65837" y="2156"/>
                        <a:pt x="44891" y="175"/>
                      </a:cubicBezTo>
                      <a:cubicBezTo>
                        <a:pt x="24013" y="-1825"/>
                        <a:pt x="5382" y="13567"/>
                        <a:pt x="3391" y="3451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1" name="Freeform: Shape 47">
                  <a:extLst>
                    <a:ext uri="{FF2B5EF4-FFF2-40B4-BE49-F238E27FC236}">
                      <a16:creationId xmlns:a16="http://schemas.microsoft.com/office/drawing/2014/main" id="{95FED9CD-B161-8B45-A50B-4FCA56D4F570}"/>
                    </a:ext>
                  </a:extLst>
                </p:cNvPr>
                <p:cNvSpPr/>
                <p:nvPr/>
              </p:nvSpPr>
              <p:spPr>
                <a:xfrm>
                  <a:off x="2646585" y="3605095"/>
                  <a:ext cx="714375" cy="657225"/>
                </a:xfrm>
                <a:custGeom>
                  <a:avLst/>
                  <a:gdLst>
                    <a:gd name="connsiteX0" fmla="*/ 61511 w 714375"/>
                    <a:gd name="connsiteY0" fmla="*/ 584553 h 657225"/>
                    <a:gd name="connsiteX1" fmla="*/ 60711 w 714375"/>
                    <a:gd name="connsiteY1" fmla="*/ 584667 h 657225"/>
                    <a:gd name="connsiteX2" fmla="*/ 52577 w 714375"/>
                    <a:gd name="connsiteY2" fmla="*/ 585658 h 657225"/>
                    <a:gd name="connsiteX3" fmla="*/ 48195 w 714375"/>
                    <a:gd name="connsiteY3" fmla="*/ 586420 h 657225"/>
                    <a:gd name="connsiteX4" fmla="*/ 43709 w 714375"/>
                    <a:gd name="connsiteY4" fmla="*/ 586620 h 657225"/>
                    <a:gd name="connsiteX5" fmla="*/ 34632 w 714375"/>
                    <a:gd name="connsiteY5" fmla="*/ 587487 h 657225"/>
                    <a:gd name="connsiteX6" fmla="*/ 161 w 714375"/>
                    <a:gd name="connsiteY6" fmla="*/ 628901 h 657225"/>
                    <a:gd name="connsiteX7" fmla="*/ 38061 w 714375"/>
                    <a:gd name="connsiteY7" fmla="*/ 663534 h 657225"/>
                    <a:gd name="connsiteX8" fmla="*/ 41575 w 714375"/>
                    <a:gd name="connsiteY8" fmla="*/ 663372 h 657225"/>
                    <a:gd name="connsiteX9" fmla="*/ 51357 w 714375"/>
                    <a:gd name="connsiteY9" fmla="*/ 662429 h 657225"/>
                    <a:gd name="connsiteX10" fmla="*/ 56291 w 714375"/>
                    <a:gd name="connsiteY10" fmla="*/ 661610 h 657225"/>
                    <a:gd name="connsiteX11" fmla="*/ 61311 w 714375"/>
                    <a:gd name="connsiteY11" fmla="*/ 661362 h 657225"/>
                    <a:gd name="connsiteX12" fmla="*/ 71188 w 714375"/>
                    <a:gd name="connsiteY12" fmla="*/ 660162 h 657225"/>
                    <a:gd name="connsiteX13" fmla="*/ 72065 w 714375"/>
                    <a:gd name="connsiteY13" fmla="*/ 660039 h 657225"/>
                    <a:gd name="connsiteX14" fmla="*/ 721546 w 714375"/>
                    <a:gd name="connsiteY14" fmla="*/ 45057 h 657225"/>
                    <a:gd name="connsiteX15" fmla="*/ 691038 w 714375"/>
                    <a:gd name="connsiteY15" fmla="*/ 651 h 657225"/>
                    <a:gd name="connsiteX16" fmla="*/ 646632 w 714375"/>
                    <a:gd name="connsiteY16" fmla="*/ 31160 h 657225"/>
                    <a:gd name="connsiteX17" fmla="*/ 61511 w 714375"/>
                    <a:gd name="connsiteY17" fmla="*/ 584553 h 657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14375" h="657225">
                      <a:moveTo>
                        <a:pt x="61511" y="584553"/>
                      </a:moveTo>
                      <a:cubicBezTo>
                        <a:pt x="61245" y="584591"/>
                        <a:pt x="60968" y="584629"/>
                        <a:pt x="60711" y="584667"/>
                      </a:cubicBezTo>
                      <a:cubicBezTo>
                        <a:pt x="58006" y="585010"/>
                        <a:pt x="55301" y="585334"/>
                        <a:pt x="52577" y="585658"/>
                      </a:cubicBezTo>
                      <a:cubicBezTo>
                        <a:pt x="51091" y="585839"/>
                        <a:pt x="49614" y="586086"/>
                        <a:pt x="48195" y="586420"/>
                      </a:cubicBezTo>
                      <a:cubicBezTo>
                        <a:pt x="46709" y="586420"/>
                        <a:pt x="45223" y="586468"/>
                        <a:pt x="43709" y="586620"/>
                      </a:cubicBezTo>
                      <a:lnTo>
                        <a:pt x="34632" y="587487"/>
                      </a:lnTo>
                      <a:cubicBezTo>
                        <a:pt x="13677" y="589401"/>
                        <a:pt x="-1754" y="607937"/>
                        <a:pt x="161" y="628901"/>
                      </a:cubicBezTo>
                      <a:cubicBezTo>
                        <a:pt x="1961" y="648675"/>
                        <a:pt x="18582" y="663534"/>
                        <a:pt x="38061" y="663534"/>
                      </a:cubicBezTo>
                      <a:cubicBezTo>
                        <a:pt x="39223" y="663534"/>
                        <a:pt x="40394" y="663487"/>
                        <a:pt x="41575" y="663372"/>
                      </a:cubicBezTo>
                      <a:lnTo>
                        <a:pt x="51357" y="662429"/>
                      </a:lnTo>
                      <a:cubicBezTo>
                        <a:pt x="53043" y="662258"/>
                        <a:pt x="54691" y="661982"/>
                        <a:pt x="56291" y="661610"/>
                      </a:cubicBezTo>
                      <a:cubicBezTo>
                        <a:pt x="57930" y="661582"/>
                        <a:pt x="59625" y="661543"/>
                        <a:pt x="61311" y="661362"/>
                      </a:cubicBezTo>
                      <a:cubicBezTo>
                        <a:pt x="64616" y="660982"/>
                        <a:pt x="67902" y="660581"/>
                        <a:pt x="71188" y="660162"/>
                      </a:cubicBezTo>
                      <a:cubicBezTo>
                        <a:pt x="71474" y="660124"/>
                        <a:pt x="71779" y="660077"/>
                        <a:pt x="72065" y="660039"/>
                      </a:cubicBezTo>
                      <a:cubicBezTo>
                        <a:pt x="400268" y="617586"/>
                        <a:pt x="661215" y="370536"/>
                        <a:pt x="721546" y="45057"/>
                      </a:cubicBezTo>
                      <a:cubicBezTo>
                        <a:pt x="725385" y="24359"/>
                        <a:pt x="711726" y="4480"/>
                        <a:pt x="691038" y="651"/>
                      </a:cubicBezTo>
                      <a:cubicBezTo>
                        <a:pt x="670321" y="-3206"/>
                        <a:pt x="650461" y="10472"/>
                        <a:pt x="646632" y="31160"/>
                      </a:cubicBezTo>
                      <a:cubicBezTo>
                        <a:pt x="592292" y="324244"/>
                        <a:pt x="357148" y="546644"/>
                        <a:pt x="61511" y="5845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2" name="Freeform: Shape 48">
                  <a:extLst>
                    <a:ext uri="{FF2B5EF4-FFF2-40B4-BE49-F238E27FC236}">
                      <a16:creationId xmlns:a16="http://schemas.microsoft.com/office/drawing/2014/main" id="{58F6B58F-DE9C-3948-A877-8CA70B31E2DE}"/>
                    </a:ext>
                  </a:extLst>
                </p:cNvPr>
                <p:cNvSpPr/>
                <p:nvPr/>
              </p:nvSpPr>
              <p:spPr>
                <a:xfrm>
                  <a:off x="2154654" y="3793135"/>
                  <a:ext cx="885825" cy="285750"/>
                </a:xfrm>
                <a:custGeom>
                  <a:avLst/>
                  <a:gdLst>
                    <a:gd name="connsiteX0" fmla="*/ 13709 w 885825"/>
                    <a:gd name="connsiteY0" fmla="*/ 68920 h 285750"/>
                    <a:gd name="connsiteX1" fmla="*/ 17023 w 885825"/>
                    <a:gd name="connsiteY1" fmla="*/ 72653 h 285750"/>
                    <a:gd name="connsiteX2" fmla="*/ 19862 w 885825"/>
                    <a:gd name="connsiteY2" fmla="*/ 76692 h 285750"/>
                    <a:gd name="connsiteX3" fmla="*/ 26244 w 885825"/>
                    <a:gd name="connsiteY3" fmla="*/ 84455 h 285750"/>
                    <a:gd name="connsiteX4" fmla="*/ 465422 w 885825"/>
                    <a:gd name="connsiteY4" fmla="*/ 289795 h 285750"/>
                    <a:gd name="connsiteX5" fmla="*/ 876607 w 885825"/>
                    <a:gd name="connsiteY5" fmla="*/ 115554 h 285750"/>
                    <a:gd name="connsiteX6" fmla="*/ 875731 w 885825"/>
                    <a:gd name="connsiteY6" fmla="*/ 61681 h 285750"/>
                    <a:gd name="connsiteX7" fmla="*/ 821857 w 885825"/>
                    <a:gd name="connsiteY7" fmla="*/ 62557 h 285750"/>
                    <a:gd name="connsiteX8" fmla="*/ 465422 w 885825"/>
                    <a:gd name="connsiteY8" fmla="*/ 213595 h 285750"/>
                    <a:gd name="connsiteX9" fmla="*/ 84699 w 885825"/>
                    <a:gd name="connsiteY9" fmla="*/ 35573 h 285750"/>
                    <a:gd name="connsiteX10" fmla="*/ 84699 w 885825"/>
                    <a:gd name="connsiteY10" fmla="*/ 35573 h 285750"/>
                    <a:gd name="connsiteX11" fmla="*/ 84679 w 885825"/>
                    <a:gd name="connsiteY11" fmla="*/ 35544 h 285750"/>
                    <a:gd name="connsiteX12" fmla="*/ 79241 w 885825"/>
                    <a:gd name="connsiteY12" fmla="*/ 28924 h 285750"/>
                    <a:gd name="connsiteX13" fmla="*/ 76288 w 885825"/>
                    <a:gd name="connsiteY13" fmla="*/ 25657 h 285750"/>
                    <a:gd name="connsiteX14" fmla="*/ 73811 w 885825"/>
                    <a:gd name="connsiteY14" fmla="*/ 22085 h 285750"/>
                    <a:gd name="connsiteX15" fmla="*/ 68582 w 885825"/>
                    <a:gd name="connsiteY15" fmla="*/ 15237 h 285750"/>
                    <a:gd name="connsiteX16" fmla="*/ 15242 w 885825"/>
                    <a:gd name="connsiteY16" fmla="*/ 7617 h 285750"/>
                    <a:gd name="connsiteX17" fmla="*/ 7622 w 885825"/>
                    <a:gd name="connsiteY17" fmla="*/ 60966 h 285750"/>
                    <a:gd name="connsiteX18" fmla="*/ 13709 w 885825"/>
                    <a:gd name="connsiteY18" fmla="*/ 68920 h 28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885825" h="285750">
                      <a:moveTo>
                        <a:pt x="13709" y="68920"/>
                      </a:moveTo>
                      <a:cubicBezTo>
                        <a:pt x="14747" y="70253"/>
                        <a:pt x="15852" y="71501"/>
                        <a:pt x="17023" y="72653"/>
                      </a:cubicBezTo>
                      <a:cubicBezTo>
                        <a:pt x="17871" y="74044"/>
                        <a:pt x="18814" y="75387"/>
                        <a:pt x="19862" y="76692"/>
                      </a:cubicBezTo>
                      <a:cubicBezTo>
                        <a:pt x="21967" y="79302"/>
                        <a:pt x="24091" y="81893"/>
                        <a:pt x="26244" y="84455"/>
                      </a:cubicBezTo>
                      <a:cubicBezTo>
                        <a:pt x="135391" y="214948"/>
                        <a:pt x="295468" y="289795"/>
                        <a:pt x="465422" y="289795"/>
                      </a:cubicBezTo>
                      <a:cubicBezTo>
                        <a:pt x="621785" y="289795"/>
                        <a:pt x="767803" y="227921"/>
                        <a:pt x="876607" y="115554"/>
                      </a:cubicBezTo>
                      <a:cubicBezTo>
                        <a:pt x="891237" y="100438"/>
                        <a:pt x="890847" y="76321"/>
                        <a:pt x="875731" y="61681"/>
                      </a:cubicBezTo>
                      <a:cubicBezTo>
                        <a:pt x="860634" y="47070"/>
                        <a:pt x="836516" y="47431"/>
                        <a:pt x="821857" y="62557"/>
                      </a:cubicBezTo>
                      <a:cubicBezTo>
                        <a:pt x="727550" y="159960"/>
                        <a:pt x="600963" y="213595"/>
                        <a:pt x="465422" y="213595"/>
                      </a:cubicBezTo>
                      <a:cubicBezTo>
                        <a:pt x="318090" y="213595"/>
                        <a:pt x="179320" y="148701"/>
                        <a:pt x="84699" y="35573"/>
                      </a:cubicBezTo>
                      <a:lnTo>
                        <a:pt x="84699" y="35573"/>
                      </a:lnTo>
                      <a:cubicBezTo>
                        <a:pt x="84699" y="35563"/>
                        <a:pt x="84689" y="35554"/>
                        <a:pt x="84679" y="35544"/>
                      </a:cubicBezTo>
                      <a:cubicBezTo>
                        <a:pt x="82851" y="33363"/>
                        <a:pt x="81031" y="31153"/>
                        <a:pt x="79241" y="28924"/>
                      </a:cubicBezTo>
                      <a:cubicBezTo>
                        <a:pt x="78307" y="27772"/>
                        <a:pt x="77326" y="26686"/>
                        <a:pt x="76288" y="25657"/>
                      </a:cubicBezTo>
                      <a:cubicBezTo>
                        <a:pt x="75535" y="24438"/>
                        <a:pt x="74707" y="23238"/>
                        <a:pt x="73811" y="22085"/>
                      </a:cubicBezTo>
                      <a:cubicBezTo>
                        <a:pt x="72049" y="19828"/>
                        <a:pt x="70306" y="17542"/>
                        <a:pt x="68582" y="15237"/>
                      </a:cubicBezTo>
                      <a:cubicBezTo>
                        <a:pt x="55943" y="-1613"/>
                        <a:pt x="32054" y="-4985"/>
                        <a:pt x="15242" y="7617"/>
                      </a:cubicBezTo>
                      <a:cubicBezTo>
                        <a:pt x="-1598" y="20237"/>
                        <a:pt x="-4998" y="44126"/>
                        <a:pt x="7622" y="60966"/>
                      </a:cubicBezTo>
                      <a:cubicBezTo>
                        <a:pt x="9623" y="63633"/>
                        <a:pt x="11661" y="66281"/>
                        <a:pt x="13709" y="689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3" name="Freeform: Shape 49">
                  <a:extLst>
                    <a:ext uri="{FF2B5EF4-FFF2-40B4-BE49-F238E27FC236}">
                      <a16:creationId xmlns:a16="http://schemas.microsoft.com/office/drawing/2014/main" id="{D8D134B4-6348-A846-AD25-3605EEA5F6EC}"/>
                    </a:ext>
                  </a:extLst>
                </p:cNvPr>
                <p:cNvSpPr/>
                <p:nvPr/>
              </p:nvSpPr>
              <p:spPr>
                <a:xfrm>
                  <a:off x="2047776" y="2938349"/>
                  <a:ext cx="1143000" cy="685800"/>
                </a:xfrm>
                <a:custGeom>
                  <a:avLst/>
                  <a:gdLst>
                    <a:gd name="connsiteX0" fmla="*/ 572300 w 1143000"/>
                    <a:gd name="connsiteY0" fmla="*/ 76191 h 685800"/>
                    <a:gd name="connsiteX1" fmla="*/ 1068391 w 1143000"/>
                    <a:gd name="connsiteY1" fmla="*/ 572281 h 685800"/>
                    <a:gd name="connsiteX2" fmla="*/ 1065657 w 1143000"/>
                    <a:gd name="connsiteY2" fmla="*/ 624602 h 685800"/>
                    <a:gd name="connsiteX3" fmla="*/ 1065657 w 1143000"/>
                    <a:gd name="connsiteY3" fmla="*/ 624659 h 685800"/>
                    <a:gd name="connsiteX4" fmla="*/ 1064676 w 1143000"/>
                    <a:gd name="connsiteY4" fmla="*/ 633174 h 685800"/>
                    <a:gd name="connsiteX5" fmla="*/ 1064390 w 1143000"/>
                    <a:gd name="connsiteY5" fmla="*/ 637623 h 685800"/>
                    <a:gd name="connsiteX6" fmla="*/ 1063552 w 1143000"/>
                    <a:gd name="connsiteY6" fmla="*/ 641871 h 685800"/>
                    <a:gd name="connsiteX7" fmla="*/ 1062285 w 1143000"/>
                    <a:gd name="connsiteY7" fmla="*/ 650405 h 685800"/>
                    <a:gd name="connsiteX8" fmla="*/ 1093984 w 1143000"/>
                    <a:gd name="connsiteY8" fmla="*/ 693972 h 685800"/>
                    <a:gd name="connsiteX9" fmla="*/ 1099966 w 1143000"/>
                    <a:gd name="connsiteY9" fmla="*/ 694449 h 685800"/>
                    <a:gd name="connsiteX10" fmla="*/ 1137552 w 1143000"/>
                    <a:gd name="connsiteY10" fmla="*/ 662273 h 685800"/>
                    <a:gd name="connsiteX11" fmla="*/ 1139018 w 1143000"/>
                    <a:gd name="connsiteY11" fmla="*/ 652348 h 685800"/>
                    <a:gd name="connsiteX12" fmla="*/ 1139381 w 1143000"/>
                    <a:gd name="connsiteY12" fmla="*/ 647348 h 685800"/>
                    <a:gd name="connsiteX13" fmla="*/ 1140295 w 1143000"/>
                    <a:gd name="connsiteY13" fmla="*/ 642538 h 685800"/>
                    <a:gd name="connsiteX14" fmla="*/ 1141438 w 1143000"/>
                    <a:gd name="connsiteY14" fmla="*/ 632574 h 685800"/>
                    <a:gd name="connsiteX15" fmla="*/ 1141447 w 1143000"/>
                    <a:gd name="connsiteY15" fmla="*/ 632479 h 685800"/>
                    <a:gd name="connsiteX16" fmla="*/ 1144581 w 1143000"/>
                    <a:gd name="connsiteY16" fmla="*/ 572291 h 685800"/>
                    <a:gd name="connsiteX17" fmla="*/ 572291 w 1143000"/>
                    <a:gd name="connsiteY17" fmla="*/ 0 h 685800"/>
                    <a:gd name="connsiteX18" fmla="*/ 0 w 1143000"/>
                    <a:gd name="connsiteY18" fmla="*/ 572252 h 685800"/>
                    <a:gd name="connsiteX19" fmla="*/ 295 w 1143000"/>
                    <a:gd name="connsiteY19" fmla="*/ 590883 h 685800"/>
                    <a:gd name="connsiteX20" fmla="*/ 39605 w 1143000"/>
                    <a:gd name="connsiteY20" fmla="*/ 627736 h 685800"/>
                    <a:gd name="connsiteX21" fmla="*/ 76457 w 1143000"/>
                    <a:gd name="connsiteY21" fmla="*/ 588426 h 685800"/>
                    <a:gd name="connsiteX22" fmla="*/ 76200 w 1143000"/>
                    <a:gd name="connsiteY22" fmla="*/ 572291 h 685800"/>
                    <a:gd name="connsiteX23" fmla="*/ 572300 w 1143000"/>
                    <a:gd name="connsiteY23" fmla="*/ 76191 h 685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143000" h="685800">
                      <a:moveTo>
                        <a:pt x="572300" y="76191"/>
                      </a:moveTo>
                      <a:cubicBezTo>
                        <a:pt x="845849" y="76191"/>
                        <a:pt x="1068391" y="298733"/>
                        <a:pt x="1068391" y="572281"/>
                      </a:cubicBezTo>
                      <a:cubicBezTo>
                        <a:pt x="1068391" y="589750"/>
                        <a:pt x="1067467" y="607362"/>
                        <a:pt x="1065657" y="624602"/>
                      </a:cubicBezTo>
                      <a:cubicBezTo>
                        <a:pt x="1065657" y="624621"/>
                        <a:pt x="1065657" y="624640"/>
                        <a:pt x="1065657" y="624659"/>
                      </a:cubicBezTo>
                      <a:cubicBezTo>
                        <a:pt x="1065362" y="627507"/>
                        <a:pt x="1065038" y="630345"/>
                        <a:pt x="1064676" y="633174"/>
                      </a:cubicBezTo>
                      <a:cubicBezTo>
                        <a:pt x="1064486" y="634670"/>
                        <a:pt x="1064400" y="636156"/>
                        <a:pt x="1064390" y="637623"/>
                      </a:cubicBezTo>
                      <a:cubicBezTo>
                        <a:pt x="1064038" y="639004"/>
                        <a:pt x="1063752" y="640423"/>
                        <a:pt x="1063552" y="641871"/>
                      </a:cubicBezTo>
                      <a:cubicBezTo>
                        <a:pt x="1063152" y="644719"/>
                        <a:pt x="1062733" y="647567"/>
                        <a:pt x="1062285" y="650405"/>
                      </a:cubicBezTo>
                      <a:cubicBezTo>
                        <a:pt x="1059009" y="671189"/>
                        <a:pt x="1073201" y="690696"/>
                        <a:pt x="1093984" y="693972"/>
                      </a:cubicBezTo>
                      <a:cubicBezTo>
                        <a:pt x="1095994" y="694287"/>
                        <a:pt x="1097995" y="694449"/>
                        <a:pt x="1099966" y="694449"/>
                      </a:cubicBezTo>
                      <a:cubicBezTo>
                        <a:pt x="1118397" y="694449"/>
                        <a:pt x="1134599" y="681047"/>
                        <a:pt x="1137552" y="662273"/>
                      </a:cubicBezTo>
                      <a:cubicBezTo>
                        <a:pt x="1138076" y="658968"/>
                        <a:pt x="1138562" y="655663"/>
                        <a:pt x="1139018" y="652348"/>
                      </a:cubicBezTo>
                      <a:cubicBezTo>
                        <a:pt x="1139247" y="650672"/>
                        <a:pt x="1139371" y="648995"/>
                        <a:pt x="1139381" y="647348"/>
                      </a:cubicBezTo>
                      <a:cubicBezTo>
                        <a:pt x="1139781" y="645785"/>
                        <a:pt x="1140085" y="644176"/>
                        <a:pt x="1140295" y="642538"/>
                      </a:cubicBezTo>
                      <a:cubicBezTo>
                        <a:pt x="1140704" y="639223"/>
                        <a:pt x="1141085" y="635899"/>
                        <a:pt x="1141438" y="632574"/>
                      </a:cubicBezTo>
                      <a:cubicBezTo>
                        <a:pt x="1141438" y="632546"/>
                        <a:pt x="1141438" y="632517"/>
                        <a:pt x="1141447" y="632479"/>
                      </a:cubicBezTo>
                      <a:cubicBezTo>
                        <a:pt x="1143524" y="612629"/>
                        <a:pt x="1144581" y="592379"/>
                        <a:pt x="1144581" y="572291"/>
                      </a:cubicBezTo>
                      <a:cubicBezTo>
                        <a:pt x="1144581" y="256737"/>
                        <a:pt x="887854" y="0"/>
                        <a:pt x="572291" y="0"/>
                      </a:cubicBezTo>
                      <a:cubicBezTo>
                        <a:pt x="256727" y="0"/>
                        <a:pt x="0" y="256727"/>
                        <a:pt x="0" y="572252"/>
                      </a:cubicBezTo>
                      <a:cubicBezTo>
                        <a:pt x="0" y="578491"/>
                        <a:pt x="95" y="584702"/>
                        <a:pt x="295" y="590883"/>
                      </a:cubicBezTo>
                      <a:cubicBezTo>
                        <a:pt x="972" y="611915"/>
                        <a:pt x="18802" y="628440"/>
                        <a:pt x="39605" y="627736"/>
                      </a:cubicBezTo>
                      <a:cubicBezTo>
                        <a:pt x="60636" y="627059"/>
                        <a:pt x="77134" y="609457"/>
                        <a:pt x="76457" y="588426"/>
                      </a:cubicBezTo>
                      <a:cubicBezTo>
                        <a:pt x="76286" y="583082"/>
                        <a:pt x="76200" y="577710"/>
                        <a:pt x="76200" y="572291"/>
                      </a:cubicBezTo>
                      <a:cubicBezTo>
                        <a:pt x="76210" y="298733"/>
                        <a:pt x="298752" y="76191"/>
                        <a:pt x="572300" y="761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4" name="Freeform: Shape 50">
                  <a:extLst>
                    <a:ext uri="{FF2B5EF4-FFF2-40B4-BE49-F238E27FC236}">
                      <a16:creationId xmlns:a16="http://schemas.microsoft.com/office/drawing/2014/main" id="{DC433157-2E44-3540-A03F-DB41E218E23C}"/>
                    </a:ext>
                  </a:extLst>
                </p:cNvPr>
                <p:cNvSpPr/>
                <p:nvPr/>
              </p:nvSpPr>
              <p:spPr>
                <a:xfrm>
                  <a:off x="2233113" y="3123677"/>
                  <a:ext cx="771525" cy="742950"/>
                </a:xfrm>
                <a:custGeom>
                  <a:avLst/>
                  <a:gdLst>
                    <a:gd name="connsiteX0" fmla="*/ 588959 w 771525"/>
                    <a:gd name="connsiteY0" fmla="*/ 717042 h 742950"/>
                    <a:gd name="connsiteX1" fmla="*/ 597437 w 771525"/>
                    <a:gd name="connsiteY1" fmla="*/ 711680 h 742950"/>
                    <a:gd name="connsiteX2" fmla="*/ 601475 w 771525"/>
                    <a:gd name="connsiteY2" fmla="*/ 708670 h 742950"/>
                    <a:gd name="connsiteX3" fmla="*/ 605800 w 771525"/>
                    <a:gd name="connsiteY3" fmla="*/ 706098 h 742950"/>
                    <a:gd name="connsiteX4" fmla="*/ 614058 w 771525"/>
                    <a:gd name="connsiteY4" fmla="*/ 700278 h 742950"/>
                    <a:gd name="connsiteX5" fmla="*/ 614115 w 771525"/>
                    <a:gd name="connsiteY5" fmla="*/ 700231 h 742950"/>
                    <a:gd name="connsiteX6" fmla="*/ 773906 w 771525"/>
                    <a:gd name="connsiteY6" fmla="*/ 386944 h 742950"/>
                    <a:gd name="connsiteX7" fmla="*/ 386963 w 771525"/>
                    <a:gd name="connsiteY7" fmla="*/ 0 h 742950"/>
                    <a:gd name="connsiteX8" fmla="*/ 353682 w 771525"/>
                    <a:gd name="connsiteY8" fmla="*/ 19536 h 742950"/>
                    <a:gd name="connsiteX9" fmla="*/ 317373 w 771525"/>
                    <a:gd name="connsiteY9" fmla="*/ 6248 h 742950"/>
                    <a:gd name="connsiteX10" fmla="*/ 307448 w 771525"/>
                    <a:gd name="connsiteY10" fmla="*/ 8192 h 742950"/>
                    <a:gd name="connsiteX11" fmla="*/ 302581 w 771525"/>
                    <a:gd name="connsiteY11" fmla="*/ 9554 h 742950"/>
                    <a:gd name="connsiteX12" fmla="*/ 297513 w 771525"/>
                    <a:gd name="connsiteY12" fmla="*/ 10401 h 742950"/>
                    <a:gd name="connsiteX13" fmla="*/ 287817 w 771525"/>
                    <a:gd name="connsiteY13" fmla="*/ 12830 h 742950"/>
                    <a:gd name="connsiteX14" fmla="*/ 287712 w 771525"/>
                    <a:gd name="connsiteY14" fmla="*/ 12859 h 742950"/>
                    <a:gd name="connsiteX15" fmla="*/ 0 w 771525"/>
                    <a:gd name="connsiteY15" fmla="*/ 386944 h 742950"/>
                    <a:gd name="connsiteX16" fmla="*/ 247745 w 771525"/>
                    <a:gd name="connsiteY16" fmla="*/ 748094 h 742950"/>
                    <a:gd name="connsiteX17" fmla="*/ 261442 w 771525"/>
                    <a:gd name="connsiteY17" fmla="*/ 750656 h 742950"/>
                    <a:gd name="connsiteX18" fmla="*/ 296999 w 771525"/>
                    <a:gd name="connsiteY18" fmla="*/ 726253 h 742950"/>
                    <a:gd name="connsiteX19" fmla="*/ 275168 w 771525"/>
                    <a:gd name="connsiteY19" fmla="*/ 676990 h 742950"/>
                    <a:gd name="connsiteX20" fmla="*/ 76200 w 771525"/>
                    <a:gd name="connsiteY20" fmla="*/ 386944 h 742950"/>
                    <a:gd name="connsiteX21" fmla="*/ 307210 w 771525"/>
                    <a:gd name="connsiteY21" fmla="*/ 86516 h 742950"/>
                    <a:gd name="connsiteX22" fmla="*/ 307248 w 771525"/>
                    <a:gd name="connsiteY22" fmla="*/ 86506 h 742950"/>
                    <a:gd name="connsiteX23" fmla="*/ 315144 w 771525"/>
                    <a:gd name="connsiteY23" fmla="*/ 84525 h 742950"/>
                    <a:gd name="connsiteX24" fmla="*/ 319002 w 771525"/>
                    <a:gd name="connsiteY24" fmla="*/ 83391 h 742950"/>
                    <a:gd name="connsiteX25" fmla="*/ 323060 w 771525"/>
                    <a:gd name="connsiteY25" fmla="*/ 82763 h 742950"/>
                    <a:gd name="connsiteX26" fmla="*/ 331070 w 771525"/>
                    <a:gd name="connsiteY26" fmla="*/ 81191 h 742950"/>
                    <a:gd name="connsiteX27" fmla="*/ 357492 w 771525"/>
                    <a:gd name="connsiteY27" fmla="*/ 62265 h 742950"/>
                    <a:gd name="connsiteX28" fmla="*/ 386944 w 771525"/>
                    <a:gd name="connsiteY28" fmla="*/ 76190 h 742950"/>
                    <a:gd name="connsiteX29" fmla="*/ 697687 w 771525"/>
                    <a:gd name="connsiteY29" fmla="*/ 386934 h 742950"/>
                    <a:gd name="connsiteX30" fmla="*/ 569319 w 771525"/>
                    <a:gd name="connsiteY30" fmla="*/ 638556 h 742950"/>
                    <a:gd name="connsiteX31" fmla="*/ 562708 w 771525"/>
                    <a:gd name="connsiteY31" fmla="*/ 643223 h 742950"/>
                    <a:gd name="connsiteX32" fmla="*/ 559451 w 771525"/>
                    <a:gd name="connsiteY32" fmla="*/ 645719 h 742950"/>
                    <a:gd name="connsiteX33" fmla="*/ 555908 w 771525"/>
                    <a:gd name="connsiteY33" fmla="*/ 647767 h 742950"/>
                    <a:gd name="connsiteX34" fmla="*/ 548964 w 771525"/>
                    <a:gd name="connsiteY34" fmla="*/ 652158 h 742950"/>
                    <a:gd name="connsiteX35" fmla="*/ 536515 w 771525"/>
                    <a:gd name="connsiteY35" fmla="*/ 704583 h 742950"/>
                    <a:gd name="connsiteX36" fmla="*/ 588959 w 771525"/>
                    <a:gd name="connsiteY36" fmla="*/ 717042 h 742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771525" h="742950">
                      <a:moveTo>
                        <a:pt x="588959" y="717042"/>
                      </a:moveTo>
                      <a:cubicBezTo>
                        <a:pt x="591817" y="715280"/>
                        <a:pt x="594636" y="713499"/>
                        <a:pt x="597437" y="711680"/>
                      </a:cubicBezTo>
                      <a:cubicBezTo>
                        <a:pt x="598866" y="710746"/>
                        <a:pt x="600218" y="709746"/>
                        <a:pt x="601475" y="708670"/>
                      </a:cubicBezTo>
                      <a:cubicBezTo>
                        <a:pt x="602952" y="707917"/>
                        <a:pt x="604399" y="707060"/>
                        <a:pt x="605800" y="706098"/>
                      </a:cubicBezTo>
                      <a:cubicBezTo>
                        <a:pt x="608581" y="704193"/>
                        <a:pt x="611324" y="702250"/>
                        <a:pt x="614058" y="700278"/>
                      </a:cubicBezTo>
                      <a:cubicBezTo>
                        <a:pt x="614077" y="700259"/>
                        <a:pt x="614096" y="700249"/>
                        <a:pt x="614115" y="700231"/>
                      </a:cubicBezTo>
                      <a:cubicBezTo>
                        <a:pt x="714175" y="627564"/>
                        <a:pt x="773906" y="510445"/>
                        <a:pt x="773906" y="386944"/>
                      </a:cubicBezTo>
                      <a:cubicBezTo>
                        <a:pt x="773906" y="173584"/>
                        <a:pt x="600323" y="0"/>
                        <a:pt x="386963" y="0"/>
                      </a:cubicBezTo>
                      <a:cubicBezTo>
                        <a:pt x="372666" y="0"/>
                        <a:pt x="360198" y="7877"/>
                        <a:pt x="353682" y="19536"/>
                      </a:cubicBezTo>
                      <a:cubicBezTo>
                        <a:pt x="345177" y="9211"/>
                        <a:pt x="331461" y="3658"/>
                        <a:pt x="317373" y="6248"/>
                      </a:cubicBezTo>
                      <a:cubicBezTo>
                        <a:pt x="314049" y="6848"/>
                        <a:pt x="310744" y="7496"/>
                        <a:pt x="307448" y="8192"/>
                      </a:cubicBezTo>
                      <a:cubicBezTo>
                        <a:pt x="305772" y="8544"/>
                        <a:pt x="304152" y="8992"/>
                        <a:pt x="302581" y="9554"/>
                      </a:cubicBezTo>
                      <a:cubicBezTo>
                        <a:pt x="300895" y="9725"/>
                        <a:pt x="299209" y="10001"/>
                        <a:pt x="297513" y="10401"/>
                      </a:cubicBezTo>
                      <a:cubicBezTo>
                        <a:pt x="294265" y="11182"/>
                        <a:pt x="291036" y="11982"/>
                        <a:pt x="287817" y="12830"/>
                      </a:cubicBezTo>
                      <a:cubicBezTo>
                        <a:pt x="287788" y="12840"/>
                        <a:pt x="287750" y="12849"/>
                        <a:pt x="287712" y="12859"/>
                      </a:cubicBezTo>
                      <a:cubicBezTo>
                        <a:pt x="118310" y="57683"/>
                        <a:pt x="0" y="211512"/>
                        <a:pt x="0" y="386944"/>
                      </a:cubicBezTo>
                      <a:cubicBezTo>
                        <a:pt x="0" y="545792"/>
                        <a:pt x="99565" y="690934"/>
                        <a:pt x="247745" y="748094"/>
                      </a:cubicBezTo>
                      <a:cubicBezTo>
                        <a:pt x="252251" y="749837"/>
                        <a:pt x="256889" y="750656"/>
                        <a:pt x="261442" y="750656"/>
                      </a:cubicBezTo>
                      <a:cubicBezTo>
                        <a:pt x="276730" y="750656"/>
                        <a:pt x="291170" y="741378"/>
                        <a:pt x="296999" y="726253"/>
                      </a:cubicBezTo>
                      <a:cubicBezTo>
                        <a:pt x="304572" y="706612"/>
                        <a:pt x="294799" y="684571"/>
                        <a:pt x="275168" y="676990"/>
                      </a:cubicBezTo>
                      <a:cubicBezTo>
                        <a:pt x="156162" y="631098"/>
                        <a:pt x="76210" y="514531"/>
                        <a:pt x="76200" y="386944"/>
                      </a:cubicBezTo>
                      <a:cubicBezTo>
                        <a:pt x="76200" y="246050"/>
                        <a:pt x="171193" y="122511"/>
                        <a:pt x="307210" y="86516"/>
                      </a:cubicBezTo>
                      <a:cubicBezTo>
                        <a:pt x="307219" y="86516"/>
                        <a:pt x="307229" y="86516"/>
                        <a:pt x="307248" y="86506"/>
                      </a:cubicBezTo>
                      <a:cubicBezTo>
                        <a:pt x="309867" y="85820"/>
                        <a:pt x="312496" y="85154"/>
                        <a:pt x="315144" y="84525"/>
                      </a:cubicBezTo>
                      <a:cubicBezTo>
                        <a:pt x="316468" y="84211"/>
                        <a:pt x="317754" y="83829"/>
                        <a:pt x="319002" y="83391"/>
                      </a:cubicBezTo>
                      <a:cubicBezTo>
                        <a:pt x="320345" y="83258"/>
                        <a:pt x="321707" y="83048"/>
                        <a:pt x="323060" y="82763"/>
                      </a:cubicBezTo>
                      <a:cubicBezTo>
                        <a:pt x="325717" y="82201"/>
                        <a:pt x="328393" y="81686"/>
                        <a:pt x="331070" y="81191"/>
                      </a:cubicBezTo>
                      <a:cubicBezTo>
                        <a:pt x="342710" y="79058"/>
                        <a:pt x="352139" y="71857"/>
                        <a:pt x="357492" y="62265"/>
                      </a:cubicBezTo>
                      <a:cubicBezTo>
                        <a:pt x="364484" y="70771"/>
                        <a:pt x="375076" y="76190"/>
                        <a:pt x="386944" y="76190"/>
                      </a:cubicBezTo>
                      <a:cubicBezTo>
                        <a:pt x="558289" y="76190"/>
                        <a:pt x="697687" y="215589"/>
                        <a:pt x="697687" y="386934"/>
                      </a:cubicBezTo>
                      <a:cubicBezTo>
                        <a:pt x="697687" y="486118"/>
                        <a:pt x="649700" y="580187"/>
                        <a:pt x="569319" y="638556"/>
                      </a:cubicBezTo>
                      <a:cubicBezTo>
                        <a:pt x="567138" y="640137"/>
                        <a:pt x="564928" y="641699"/>
                        <a:pt x="562708" y="643223"/>
                      </a:cubicBezTo>
                      <a:cubicBezTo>
                        <a:pt x="561565" y="644004"/>
                        <a:pt x="560480" y="644843"/>
                        <a:pt x="559451" y="645719"/>
                      </a:cubicBezTo>
                      <a:cubicBezTo>
                        <a:pt x="558241" y="646328"/>
                        <a:pt x="557060" y="647014"/>
                        <a:pt x="555908" y="647767"/>
                      </a:cubicBezTo>
                      <a:cubicBezTo>
                        <a:pt x="553612" y="649262"/>
                        <a:pt x="551297" y="650719"/>
                        <a:pt x="548964" y="652158"/>
                      </a:cubicBezTo>
                      <a:cubicBezTo>
                        <a:pt x="531048" y="663197"/>
                        <a:pt x="525475" y="686676"/>
                        <a:pt x="536515" y="704583"/>
                      </a:cubicBezTo>
                      <a:cubicBezTo>
                        <a:pt x="547573" y="722509"/>
                        <a:pt x="571072" y="728081"/>
                        <a:pt x="588959" y="7170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pPr marL="0" algn="r" defTabSz="914400" rtl="1" eaLnBrk="1" latinLnBrk="0" hangingPunct="1"/>
                  <a:endParaRPr lang="en-US" dirty="0">
                    <a:latin typeface="Objectivity Light" pitchFamily="2" charset="77"/>
                  </a:endParaRPr>
                </a:p>
              </p:txBody>
            </p:sp>
            <p:sp>
              <p:nvSpPr>
                <p:cNvPr id="25" name="Freeform: Shape 51">
                  <a:extLst>
                    <a:ext uri="{FF2B5EF4-FFF2-40B4-BE49-F238E27FC236}">
                      <a16:creationId xmlns:a16="http://schemas.microsoft.com/office/drawing/2014/main" id="{FE89D1D9-A96C-7C4A-A0E3-6DB06AAC40B5}"/>
                    </a:ext>
                  </a:extLst>
                </p:cNvPr>
                <p:cNvSpPr/>
                <p:nvPr/>
              </p:nvSpPr>
              <p:spPr>
                <a:xfrm>
                  <a:off x="2405697" y="3296241"/>
                  <a:ext cx="428625" cy="428625"/>
                </a:xfrm>
                <a:custGeom>
                  <a:avLst/>
                  <a:gdLst>
                    <a:gd name="connsiteX0" fmla="*/ 83010 w 428625"/>
                    <a:gd name="connsiteY0" fmla="*/ 171364 h 428625"/>
                    <a:gd name="connsiteX1" fmla="*/ 85439 w 428625"/>
                    <a:gd name="connsiteY1" fmla="*/ 164573 h 428625"/>
                    <a:gd name="connsiteX2" fmla="*/ 86592 w 428625"/>
                    <a:gd name="connsiteY2" fmla="*/ 161115 h 428625"/>
                    <a:gd name="connsiteX3" fmla="*/ 88221 w 428625"/>
                    <a:gd name="connsiteY3" fmla="*/ 157896 h 428625"/>
                    <a:gd name="connsiteX4" fmla="*/ 91354 w 428625"/>
                    <a:gd name="connsiteY4" fmla="*/ 151362 h 428625"/>
                    <a:gd name="connsiteX5" fmla="*/ 74876 w 428625"/>
                    <a:gd name="connsiteY5" fmla="*/ 100060 h 428625"/>
                    <a:gd name="connsiteX6" fmla="*/ 23574 w 428625"/>
                    <a:gd name="connsiteY6" fmla="*/ 116538 h 428625"/>
                    <a:gd name="connsiteX7" fmla="*/ 18698 w 428625"/>
                    <a:gd name="connsiteY7" fmla="*/ 126673 h 428625"/>
                    <a:gd name="connsiteX8" fmla="*/ 16764 w 428625"/>
                    <a:gd name="connsiteY8" fmla="*/ 131988 h 428625"/>
                    <a:gd name="connsiteX9" fmla="*/ 14364 w 428625"/>
                    <a:gd name="connsiteY9" fmla="*/ 137065 h 428625"/>
                    <a:gd name="connsiteX10" fmla="*/ 10601 w 428625"/>
                    <a:gd name="connsiteY10" fmla="*/ 147609 h 428625"/>
                    <a:gd name="connsiteX11" fmla="*/ 10582 w 428625"/>
                    <a:gd name="connsiteY11" fmla="*/ 147676 h 428625"/>
                    <a:gd name="connsiteX12" fmla="*/ 0 w 428625"/>
                    <a:gd name="connsiteY12" fmla="*/ 214351 h 428625"/>
                    <a:gd name="connsiteX13" fmla="*/ 214389 w 428625"/>
                    <a:gd name="connsiteY13" fmla="*/ 428739 h 428625"/>
                    <a:gd name="connsiteX14" fmla="*/ 428777 w 428625"/>
                    <a:gd name="connsiteY14" fmla="*/ 214351 h 428625"/>
                    <a:gd name="connsiteX15" fmla="*/ 214379 w 428625"/>
                    <a:gd name="connsiteY15" fmla="*/ 0 h 428625"/>
                    <a:gd name="connsiteX16" fmla="*/ 176279 w 428625"/>
                    <a:gd name="connsiteY16" fmla="*/ 38100 h 428625"/>
                    <a:gd name="connsiteX17" fmla="*/ 214379 w 428625"/>
                    <a:gd name="connsiteY17" fmla="*/ 76200 h 428625"/>
                    <a:gd name="connsiteX18" fmla="*/ 352568 w 428625"/>
                    <a:gd name="connsiteY18" fmla="*/ 214389 h 428625"/>
                    <a:gd name="connsiteX19" fmla="*/ 214379 w 428625"/>
                    <a:gd name="connsiteY19" fmla="*/ 352577 h 428625"/>
                    <a:gd name="connsiteX20" fmla="*/ 76191 w 428625"/>
                    <a:gd name="connsiteY20" fmla="*/ 214389 h 428625"/>
                    <a:gd name="connsiteX21" fmla="*/ 83001 w 428625"/>
                    <a:gd name="connsiteY21" fmla="*/ 171402 h 428625"/>
                    <a:gd name="connsiteX22" fmla="*/ 83010 w 428625"/>
                    <a:gd name="connsiteY22" fmla="*/ 171364 h 42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28625" h="428625">
                      <a:moveTo>
                        <a:pt x="83010" y="171364"/>
                      </a:moveTo>
                      <a:cubicBezTo>
                        <a:pt x="83763" y="169069"/>
                        <a:pt x="84572" y="166802"/>
                        <a:pt x="85439" y="164573"/>
                      </a:cubicBezTo>
                      <a:cubicBezTo>
                        <a:pt x="85877" y="163430"/>
                        <a:pt x="86258" y="162277"/>
                        <a:pt x="86592" y="161115"/>
                      </a:cubicBezTo>
                      <a:cubicBezTo>
                        <a:pt x="87182" y="160077"/>
                        <a:pt x="87725" y="159001"/>
                        <a:pt x="88221" y="157896"/>
                      </a:cubicBezTo>
                      <a:cubicBezTo>
                        <a:pt x="89211" y="155686"/>
                        <a:pt x="90249" y="153505"/>
                        <a:pt x="91354" y="151362"/>
                      </a:cubicBezTo>
                      <a:cubicBezTo>
                        <a:pt x="100965" y="132645"/>
                        <a:pt x="93583" y="109680"/>
                        <a:pt x="74876" y="100060"/>
                      </a:cubicBezTo>
                      <a:cubicBezTo>
                        <a:pt x="56150" y="90449"/>
                        <a:pt x="33195" y="97831"/>
                        <a:pt x="23574" y="116538"/>
                      </a:cubicBezTo>
                      <a:cubicBezTo>
                        <a:pt x="21869" y="119872"/>
                        <a:pt x="20241" y="123254"/>
                        <a:pt x="18698" y="126673"/>
                      </a:cubicBezTo>
                      <a:cubicBezTo>
                        <a:pt x="17916" y="128426"/>
                        <a:pt x="17278" y="130197"/>
                        <a:pt x="16764" y="131988"/>
                      </a:cubicBezTo>
                      <a:cubicBezTo>
                        <a:pt x="15850" y="133598"/>
                        <a:pt x="15050" y="135293"/>
                        <a:pt x="14364" y="137065"/>
                      </a:cubicBezTo>
                      <a:cubicBezTo>
                        <a:pt x="13021" y="140541"/>
                        <a:pt x="11773" y="144056"/>
                        <a:pt x="10601" y="147609"/>
                      </a:cubicBezTo>
                      <a:cubicBezTo>
                        <a:pt x="10592" y="147628"/>
                        <a:pt x="10592" y="147657"/>
                        <a:pt x="10582" y="147676"/>
                      </a:cubicBezTo>
                      <a:cubicBezTo>
                        <a:pt x="3562" y="169145"/>
                        <a:pt x="0" y="191576"/>
                        <a:pt x="0" y="214351"/>
                      </a:cubicBezTo>
                      <a:cubicBezTo>
                        <a:pt x="0" y="332565"/>
                        <a:pt x="96174" y="428739"/>
                        <a:pt x="214389" y="428739"/>
                      </a:cubicBezTo>
                      <a:cubicBezTo>
                        <a:pt x="332603" y="428739"/>
                        <a:pt x="428777" y="332556"/>
                        <a:pt x="428777" y="214351"/>
                      </a:cubicBezTo>
                      <a:cubicBezTo>
                        <a:pt x="428777" y="96145"/>
                        <a:pt x="332594" y="0"/>
                        <a:pt x="214379" y="0"/>
                      </a:cubicBezTo>
                      <a:cubicBezTo>
                        <a:pt x="193338" y="0"/>
                        <a:pt x="176279" y="17059"/>
                        <a:pt x="176279" y="38100"/>
                      </a:cubicBezTo>
                      <a:cubicBezTo>
                        <a:pt x="176279" y="59141"/>
                        <a:pt x="193338" y="76200"/>
                        <a:pt x="214379" y="76200"/>
                      </a:cubicBezTo>
                      <a:cubicBezTo>
                        <a:pt x="290579" y="76200"/>
                        <a:pt x="352568" y="138189"/>
                        <a:pt x="352568" y="214389"/>
                      </a:cubicBezTo>
                      <a:cubicBezTo>
                        <a:pt x="352568" y="290589"/>
                        <a:pt x="290579" y="352577"/>
                        <a:pt x="214379" y="352577"/>
                      </a:cubicBezTo>
                      <a:cubicBezTo>
                        <a:pt x="138179" y="352577"/>
                        <a:pt x="76191" y="290589"/>
                        <a:pt x="76191" y="214389"/>
                      </a:cubicBezTo>
                      <a:cubicBezTo>
                        <a:pt x="76191" y="199673"/>
                        <a:pt x="78486" y="185214"/>
                        <a:pt x="83001" y="171402"/>
                      </a:cubicBezTo>
                      <a:cubicBezTo>
                        <a:pt x="83010" y="171383"/>
                        <a:pt x="83010" y="171374"/>
                        <a:pt x="83010" y="17136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28575" tIns="14288" rIns="28575" bIns="14288" rtlCol="0" anchor="ctr"/>
                <a:lstStyle/>
                <a:p>
                  <a:pPr marL="0" algn="l" defTabSz="914400" rtl="0" eaLnBrk="1" latinLnBrk="0" hangingPunct="1"/>
                  <a:endParaRPr lang="en-US" dirty="0">
                    <a:latin typeface="Objectivity Light" pitchFamily="2" charset="77"/>
                  </a:endParaRPr>
                </a:p>
              </p:txBody>
            </p:sp>
          </p:grp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74F16C9-EF32-0849-A865-2B3961FD71CE}"/>
              </a:ext>
            </a:extLst>
          </p:cNvPr>
          <p:cNvGrpSpPr/>
          <p:nvPr/>
        </p:nvGrpSpPr>
        <p:grpSpPr>
          <a:xfrm>
            <a:off x="8178234" y="3701929"/>
            <a:ext cx="2753469" cy="2849129"/>
            <a:chOff x="8178234" y="3712203"/>
            <a:chExt cx="2753469" cy="2849129"/>
          </a:xfrm>
        </p:grpSpPr>
        <p:sp>
          <p:nvSpPr>
            <p:cNvPr id="89" name="Freeform: Shape 41">
              <a:extLst>
                <a:ext uri="{FF2B5EF4-FFF2-40B4-BE49-F238E27FC236}">
                  <a16:creationId xmlns:a16="http://schemas.microsoft.com/office/drawing/2014/main" id="{E12C0E6C-56A5-B644-8C15-DA98B385B4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865681" y="3928021"/>
              <a:ext cx="1452681" cy="1625558"/>
            </a:xfrm>
            <a:custGeom>
              <a:avLst/>
              <a:gdLst>
                <a:gd name="connsiteX0" fmla="*/ 998433 w 1997375"/>
                <a:gd name="connsiteY0" fmla="*/ 0 h 2235069"/>
                <a:gd name="connsiteX1" fmla="*/ 1111163 w 1997375"/>
                <a:gd name="connsiteY1" fmla="*/ 30048 h 2235069"/>
                <a:gd name="connsiteX2" fmla="*/ 1884560 w 1997375"/>
                <a:gd name="connsiteY2" fmla="*/ 476179 h 2235069"/>
                <a:gd name="connsiteX3" fmla="*/ 1997375 w 1997375"/>
                <a:gd name="connsiteY3" fmla="*/ 671064 h 2235069"/>
                <a:gd name="connsiteX4" fmla="*/ 1997375 w 1997375"/>
                <a:gd name="connsiteY4" fmla="*/ 1564005 h 2235069"/>
                <a:gd name="connsiteX5" fmla="*/ 1884560 w 1997375"/>
                <a:gd name="connsiteY5" fmla="*/ 1758212 h 2235069"/>
                <a:gd name="connsiteX6" fmla="*/ 1111163 w 1997375"/>
                <a:gd name="connsiteY6" fmla="*/ 2205022 h 2235069"/>
                <a:gd name="connsiteX7" fmla="*/ 886212 w 1997375"/>
                <a:gd name="connsiteY7" fmla="*/ 2205022 h 2235069"/>
                <a:gd name="connsiteX8" fmla="*/ 112136 w 1997375"/>
                <a:gd name="connsiteY8" fmla="*/ 1758212 h 2235069"/>
                <a:gd name="connsiteX9" fmla="*/ 0 w 1997375"/>
                <a:gd name="connsiteY9" fmla="*/ 1564005 h 2235069"/>
                <a:gd name="connsiteX10" fmla="*/ 0 w 1997375"/>
                <a:gd name="connsiteY10" fmla="*/ 671064 h 2235069"/>
                <a:gd name="connsiteX11" fmla="*/ 112136 w 1997375"/>
                <a:gd name="connsiteY11" fmla="*/ 476179 h 2235069"/>
                <a:gd name="connsiteX12" fmla="*/ 886212 w 1997375"/>
                <a:gd name="connsiteY12" fmla="*/ 30048 h 2235069"/>
                <a:gd name="connsiteX13" fmla="*/ 998433 w 1997375"/>
                <a:gd name="connsiteY13" fmla="*/ 0 h 223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7375" h="2235069">
                  <a:moveTo>
                    <a:pt x="998433" y="0"/>
                  </a:moveTo>
                  <a:cubicBezTo>
                    <a:pt x="1037256" y="0"/>
                    <a:pt x="1076163" y="10016"/>
                    <a:pt x="1111163" y="30048"/>
                  </a:cubicBezTo>
                  <a:lnTo>
                    <a:pt x="1884560" y="476179"/>
                  </a:lnTo>
                  <a:cubicBezTo>
                    <a:pt x="1954560" y="516921"/>
                    <a:pt x="1997375" y="590937"/>
                    <a:pt x="1997375" y="671064"/>
                  </a:cubicBezTo>
                  <a:lnTo>
                    <a:pt x="1997375" y="1564005"/>
                  </a:lnTo>
                  <a:cubicBezTo>
                    <a:pt x="1997375" y="1644132"/>
                    <a:pt x="1954560" y="1718148"/>
                    <a:pt x="1884560" y="1758212"/>
                  </a:cubicBezTo>
                  <a:lnTo>
                    <a:pt x="1111163" y="2205022"/>
                  </a:lnTo>
                  <a:cubicBezTo>
                    <a:pt x="1041163" y="2245085"/>
                    <a:pt x="955532" y="2245085"/>
                    <a:pt x="886212" y="2205022"/>
                  </a:cubicBezTo>
                  <a:lnTo>
                    <a:pt x="112136" y="1758212"/>
                  </a:lnTo>
                  <a:cubicBezTo>
                    <a:pt x="42816" y="1718148"/>
                    <a:pt x="0" y="1644132"/>
                    <a:pt x="0" y="1564005"/>
                  </a:cubicBezTo>
                  <a:lnTo>
                    <a:pt x="0" y="671064"/>
                  </a:lnTo>
                  <a:cubicBezTo>
                    <a:pt x="0" y="590937"/>
                    <a:pt x="42816" y="516921"/>
                    <a:pt x="112136" y="476179"/>
                  </a:cubicBezTo>
                  <a:lnTo>
                    <a:pt x="886212" y="30048"/>
                  </a:lnTo>
                  <a:cubicBezTo>
                    <a:pt x="920872" y="10016"/>
                    <a:pt x="959610" y="0"/>
                    <a:pt x="998433" y="0"/>
                  </a:cubicBezTo>
                  <a:close/>
                </a:path>
              </a:pathLst>
            </a:custGeom>
            <a:solidFill>
              <a:srgbClr val="E1E3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" tIns="64008" rIns="64008" bIns="64008" rtlCol="0" anchor="ctr"/>
            <a:lstStyle/>
            <a:p>
              <a:pPr marL="0" algn="ctr" defTabSz="914377" rtl="0" eaLnBrk="1" latinLnBrk="0" hangingPunct="1">
                <a:lnSpc>
                  <a:spcPct val="95000"/>
                </a:lnSpc>
              </a:pPr>
              <a:endParaRPr lang="en-US" sz="1260" kern="0" dirty="0">
                <a:solidFill>
                  <a:srgbClr val="FFFFFF"/>
                </a:solidFill>
                <a:latin typeface="Objectivity Light" pitchFamily="2" charset="77"/>
                <a:cs typeface="DIN Next LT Arabic Light" panose="020B0303020203050203" pitchFamily="34" charset="-78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76212325-A40F-A04F-BDE7-C598E483AF1C}"/>
                </a:ext>
              </a:extLst>
            </p:cNvPr>
            <p:cNvGrpSpPr/>
            <p:nvPr/>
          </p:nvGrpSpPr>
          <p:grpSpPr>
            <a:xfrm flipH="1">
              <a:off x="8178234" y="3712203"/>
              <a:ext cx="2753469" cy="2849129"/>
              <a:chOff x="1260395" y="3674204"/>
              <a:chExt cx="2753469" cy="2849129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BFF806D4-434B-594E-8BEB-6F649D617F21}"/>
                  </a:ext>
                </a:extLst>
              </p:cNvPr>
              <p:cNvGrpSpPr/>
              <p:nvPr/>
            </p:nvGrpSpPr>
            <p:grpSpPr>
              <a:xfrm>
                <a:off x="1260395" y="3674204"/>
                <a:ext cx="2753469" cy="2849129"/>
                <a:chOff x="4468923" y="698284"/>
                <a:chExt cx="2629122" cy="2720463"/>
              </a:xfrm>
            </p:grpSpPr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93BC1E22-9709-6F42-B9AF-E7DC2C09BC94}"/>
                    </a:ext>
                  </a:extLst>
                </p:cNvPr>
                <p:cNvGrpSpPr/>
                <p:nvPr/>
              </p:nvGrpSpPr>
              <p:grpSpPr>
                <a:xfrm>
                  <a:off x="4468923" y="698284"/>
                  <a:ext cx="2629122" cy="2720463"/>
                  <a:chOff x="3198434" y="556549"/>
                  <a:chExt cx="3916907" cy="4052989"/>
                </a:xfrm>
              </p:grpSpPr>
              <p:sp>
                <p:nvSpPr>
                  <p:cNvPr id="72" name="Freeform: Shape 41">
                    <a:extLst>
                      <a:ext uri="{FF2B5EF4-FFF2-40B4-BE49-F238E27FC236}">
                        <a16:creationId xmlns:a16="http://schemas.microsoft.com/office/drawing/2014/main" id="{7FE9FA60-8609-8E45-964D-A39E37CF31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25111" y="556549"/>
                    <a:ext cx="2586622" cy="2894442"/>
                  </a:xfrm>
                  <a:custGeom>
                    <a:avLst/>
                    <a:gdLst>
                      <a:gd name="connsiteX0" fmla="*/ 998433 w 1997375"/>
                      <a:gd name="connsiteY0" fmla="*/ 0 h 2235069"/>
                      <a:gd name="connsiteX1" fmla="*/ 1111163 w 1997375"/>
                      <a:gd name="connsiteY1" fmla="*/ 30048 h 2235069"/>
                      <a:gd name="connsiteX2" fmla="*/ 1884560 w 1997375"/>
                      <a:gd name="connsiteY2" fmla="*/ 476179 h 2235069"/>
                      <a:gd name="connsiteX3" fmla="*/ 1997375 w 1997375"/>
                      <a:gd name="connsiteY3" fmla="*/ 671064 h 2235069"/>
                      <a:gd name="connsiteX4" fmla="*/ 1997375 w 1997375"/>
                      <a:gd name="connsiteY4" fmla="*/ 1564005 h 2235069"/>
                      <a:gd name="connsiteX5" fmla="*/ 1884560 w 1997375"/>
                      <a:gd name="connsiteY5" fmla="*/ 1758212 h 2235069"/>
                      <a:gd name="connsiteX6" fmla="*/ 1111163 w 1997375"/>
                      <a:gd name="connsiteY6" fmla="*/ 2205022 h 2235069"/>
                      <a:gd name="connsiteX7" fmla="*/ 886212 w 1997375"/>
                      <a:gd name="connsiteY7" fmla="*/ 2205022 h 2235069"/>
                      <a:gd name="connsiteX8" fmla="*/ 112136 w 1997375"/>
                      <a:gd name="connsiteY8" fmla="*/ 1758212 h 2235069"/>
                      <a:gd name="connsiteX9" fmla="*/ 0 w 1997375"/>
                      <a:gd name="connsiteY9" fmla="*/ 1564005 h 2235069"/>
                      <a:gd name="connsiteX10" fmla="*/ 0 w 1997375"/>
                      <a:gd name="connsiteY10" fmla="*/ 671064 h 2235069"/>
                      <a:gd name="connsiteX11" fmla="*/ 112136 w 1997375"/>
                      <a:gd name="connsiteY11" fmla="*/ 476179 h 2235069"/>
                      <a:gd name="connsiteX12" fmla="*/ 886212 w 1997375"/>
                      <a:gd name="connsiteY12" fmla="*/ 30048 h 2235069"/>
                      <a:gd name="connsiteX13" fmla="*/ 998433 w 1997375"/>
                      <a:gd name="connsiteY13" fmla="*/ 0 h 22350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997375" h="2235069">
                        <a:moveTo>
                          <a:pt x="998433" y="0"/>
                        </a:moveTo>
                        <a:cubicBezTo>
                          <a:pt x="1037256" y="0"/>
                          <a:pt x="1076163" y="10016"/>
                          <a:pt x="1111163" y="30048"/>
                        </a:cubicBezTo>
                        <a:lnTo>
                          <a:pt x="1884560" y="476179"/>
                        </a:lnTo>
                        <a:cubicBezTo>
                          <a:pt x="1954560" y="516921"/>
                          <a:pt x="1997375" y="590937"/>
                          <a:pt x="1997375" y="671064"/>
                        </a:cubicBezTo>
                        <a:lnTo>
                          <a:pt x="1997375" y="1564005"/>
                        </a:lnTo>
                        <a:cubicBezTo>
                          <a:pt x="1997375" y="1644132"/>
                          <a:pt x="1954560" y="1718148"/>
                          <a:pt x="1884560" y="1758212"/>
                        </a:cubicBezTo>
                        <a:lnTo>
                          <a:pt x="1111163" y="2205022"/>
                        </a:lnTo>
                        <a:cubicBezTo>
                          <a:pt x="1041163" y="2245085"/>
                          <a:pt x="955532" y="2245085"/>
                          <a:pt x="886212" y="2205022"/>
                        </a:cubicBezTo>
                        <a:lnTo>
                          <a:pt x="112136" y="1758212"/>
                        </a:lnTo>
                        <a:cubicBezTo>
                          <a:pt x="42816" y="1718148"/>
                          <a:pt x="0" y="1644132"/>
                          <a:pt x="0" y="1564005"/>
                        </a:cubicBezTo>
                        <a:lnTo>
                          <a:pt x="0" y="671064"/>
                        </a:lnTo>
                        <a:cubicBezTo>
                          <a:pt x="0" y="590937"/>
                          <a:pt x="42816" y="516921"/>
                          <a:pt x="112136" y="476179"/>
                        </a:cubicBezTo>
                        <a:lnTo>
                          <a:pt x="886212" y="30048"/>
                        </a:lnTo>
                        <a:cubicBezTo>
                          <a:pt x="920872" y="10016"/>
                          <a:pt x="959610" y="0"/>
                          <a:pt x="998433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4008" tIns="64008" rIns="64008" bIns="64008" rtlCol="0" anchor="ctr"/>
                  <a:lstStyle/>
                  <a:p>
                    <a:pPr marL="0" algn="ctr" defTabSz="914377" rtl="0" eaLnBrk="1" latinLnBrk="0" hangingPunct="1">
                      <a:lnSpc>
                        <a:spcPct val="95000"/>
                      </a:lnSpc>
                    </a:pPr>
                    <a:endParaRPr lang="en-US" sz="1260" kern="0" dirty="0">
                      <a:solidFill>
                        <a:srgbClr val="FFFFFF"/>
                      </a:solidFill>
                      <a:latin typeface="Objectivity Light" pitchFamily="2" charset="77"/>
                      <a:cs typeface="DIN Next LT Arabic Light" panose="020B0303020203050203" pitchFamily="34" charset="-78"/>
                    </a:endParaRPr>
                  </a:p>
                </p:txBody>
              </p:sp>
              <p:sp>
                <p:nvSpPr>
                  <p:cNvPr id="71" name="Rectangle 70">
                    <a:extLst>
                      <a:ext uri="{FF2B5EF4-FFF2-40B4-BE49-F238E27FC236}">
                        <a16:creationId xmlns:a16="http://schemas.microsoft.com/office/drawing/2014/main" id="{018877AE-7900-0048-B864-70D426EC2379}"/>
                      </a:ext>
                    </a:extLst>
                  </p:cNvPr>
                  <p:cNvSpPr/>
                  <p:nvPr/>
                </p:nvSpPr>
                <p:spPr>
                  <a:xfrm>
                    <a:off x="3198434" y="3602545"/>
                    <a:ext cx="3916907" cy="100699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spcBef>
                        <a:spcPts val="600"/>
                      </a:spcBef>
                      <a:spcAft>
                        <a:spcPts val="300"/>
                      </a:spcAft>
                      <a:defRPr/>
                    </a:pPr>
                    <a:r>
                      <a:rPr lang="en-US" sz="2000" dirty="0">
                        <a:solidFill>
                          <a:srgbClr val="3EA798"/>
                        </a:solidFill>
                        <a:latin typeface="Objectivity Light" pitchFamily="2" charset="77"/>
                        <a:cs typeface="DIN Next LT Arabic Light" panose="020B0303020203050203" pitchFamily="34" charset="-78"/>
                      </a:rPr>
                      <a:t>Removes any non-</a:t>
                    </a:r>
                    <a:r>
                      <a:rPr lang="en-US" sz="2000" dirty="0" err="1">
                        <a:solidFill>
                          <a:srgbClr val="3EA798"/>
                        </a:solidFill>
                        <a:latin typeface="Objectivity Light" pitchFamily="2" charset="77"/>
                        <a:cs typeface="DIN Next LT Arabic Light" panose="020B0303020203050203" pitchFamily="34" charset="-78"/>
                      </a:rPr>
                      <a:t>arabic</a:t>
                    </a:r>
                    <a:r>
                      <a:rPr lang="en-US" sz="2000" dirty="0">
                        <a:solidFill>
                          <a:srgbClr val="3EA798"/>
                        </a:solidFill>
                        <a:latin typeface="Objectivity Light" pitchFamily="2" charset="77"/>
                        <a:cs typeface="DIN Next LT Arabic Light" panose="020B0303020203050203" pitchFamily="34" charset="-78"/>
                      </a:rPr>
                      <a:t> letters from text.</a:t>
                    </a:r>
                  </a:p>
                </p:txBody>
              </p:sp>
            </p:grpSp>
            <p:sp>
              <p:nvSpPr>
                <p:cNvPr id="69" name="Oval 20">
                  <a:extLst>
                    <a:ext uri="{FF2B5EF4-FFF2-40B4-BE49-F238E27FC236}">
                      <a16:creationId xmlns:a16="http://schemas.microsoft.com/office/drawing/2014/main" id="{D2A9E295-E6D3-BA43-89D0-234D2241B8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6379101" y="1015560"/>
                  <a:ext cx="411190" cy="411190"/>
                </a:xfrm>
                <a:prstGeom prst="ellipse">
                  <a:avLst/>
                </a:prstGeom>
                <a:solidFill>
                  <a:schemeClr val="tx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vert="horz" wrap="squar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rtl="1"/>
                  <a:r>
                    <a:rPr lang="en-US" sz="2573" dirty="0">
                      <a:solidFill>
                        <a:schemeClr val="bg1"/>
                      </a:solidFill>
                      <a:latin typeface="Objectivity Light" pitchFamily="2" charset="77"/>
                    </a:rPr>
                    <a:t>4</a:t>
                  </a:r>
                </a:p>
              </p:txBody>
            </p:sp>
          </p:grpSp>
          <p:pic>
            <p:nvPicPr>
              <p:cNvPr id="67" name="Graphic 66">
                <a:extLst>
                  <a:ext uri="{FF2B5EF4-FFF2-40B4-BE49-F238E27FC236}">
                    <a16:creationId xmlns:a16="http://schemas.microsoft.com/office/drawing/2014/main" id="{BFC3E6BA-4729-CF41-A7A9-39AA280680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2130784" y="4257651"/>
                <a:ext cx="938583" cy="938583"/>
              </a:xfrm>
              <a:prstGeom prst="rect">
                <a:avLst/>
              </a:prstGeom>
            </p:spPr>
          </p:pic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B90F469-78D5-0045-9696-F94AD51770A7}"/>
              </a:ext>
            </a:extLst>
          </p:cNvPr>
          <p:cNvGrpSpPr/>
          <p:nvPr/>
        </p:nvGrpSpPr>
        <p:grpSpPr>
          <a:xfrm>
            <a:off x="4957958" y="614718"/>
            <a:ext cx="2753467" cy="2788547"/>
            <a:chOff x="4957958" y="614718"/>
            <a:chExt cx="2753467" cy="2788547"/>
          </a:xfrm>
        </p:grpSpPr>
        <p:sp>
          <p:nvSpPr>
            <p:cNvPr id="86" name="Freeform: Shape 41">
              <a:extLst>
                <a:ext uri="{FF2B5EF4-FFF2-40B4-BE49-F238E27FC236}">
                  <a16:creationId xmlns:a16="http://schemas.microsoft.com/office/drawing/2014/main" id="{EFAEB946-6FDC-E74D-BDA1-3D2E701F96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09212" y="838705"/>
              <a:ext cx="1452681" cy="1625558"/>
            </a:xfrm>
            <a:custGeom>
              <a:avLst/>
              <a:gdLst>
                <a:gd name="connsiteX0" fmla="*/ 998433 w 1997375"/>
                <a:gd name="connsiteY0" fmla="*/ 0 h 2235069"/>
                <a:gd name="connsiteX1" fmla="*/ 1111163 w 1997375"/>
                <a:gd name="connsiteY1" fmla="*/ 30048 h 2235069"/>
                <a:gd name="connsiteX2" fmla="*/ 1884560 w 1997375"/>
                <a:gd name="connsiteY2" fmla="*/ 476179 h 2235069"/>
                <a:gd name="connsiteX3" fmla="*/ 1997375 w 1997375"/>
                <a:gd name="connsiteY3" fmla="*/ 671064 h 2235069"/>
                <a:gd name="connsiteX4" fmla="*/ 1997375 w 1997375"/>
                <a:gd name="connsiteY4" fmla="*/ 1564005 h 2235069"/>
                <a:gd name="connsiteX5" fmla="*/ 1884560 w 1997375"/>
                <a:gd name="connsiteY5" fmla="*/ 1758212 h 2235069"/>
                <a:gd name="connsiteX6" fmla="*/ 1111163 w 1997375"/>
                <a:gd name="connsiteY6" fmla="*/ 2205022 h 2235069"/>
                <a:gd name="connsiteX7" fmla="*/ 886212 w 1997375"/>
                <a:gd name="connsiteY7" fmla="*/ 2205022 h 2235069"/>
                <a:gd name="connsiteX8" fmla="*/ 112136 w 1997375"/>
                <a:gd name="connsiteY8" fmla="*/ 1758212 h 2235069"/>
                <a:gd name="connsiteX9" fmla="*/ 0 w 1997375"/>
                <a:gd name="connsiteY9" fmla="*/ 1564005 h 2235069"/>
                <a:gd name="connsiteX10" fmla="*/ 0 w 1997375"/>
                <a:gd name="connsiteY10" fmla="*/ 671064 h 2235069"/>
                <a:gd name="connsiteX11" fmla="*/ 112136 w 1997375"/>
                <a:gd name="connsiteY11" fmla="*/ 476179 h 2235069"/>
                <a:gd name="connsiteX12" fmla="*/ 886212 w 1997375"/>
                <a:gd name="connsiteY12" fmla="*/ 30048 h 2235069"/>
                <a:gd name="connsiteX13" fmla="*/ 998433 w 1997375"/>
                <a:gd name="connsiteY13" fmla="*/ 0 h 223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7375" h="2235069">
                  <a:moveTo>
                    <a:pt x="998433" y="0"/>
                  </a:moveTo>
                  <a:cubicBezTo>
                    <a:pt x="1037256" y="0"/>
                    <a:pt x="1076163" y="10016"/>
                    <a:pt x="1111163" y="30048"/>
                  </a:cubicBezTo>
                  <a:lnTo>
                    <a:pt x="1884560" y="476179"/>
                  </a:lnTo>
                  <a:cubicBezTo>
                    <a:pt x="1954560" y="516921"/>
                    <a:pt x="1997375" y="590937"/>
                    <a:pt x="1997375" y="671064"/>
                  </a:cubicBezTo>
                  <a:lnTo>
                    <a:pt x="1997375" y="1564005"/>
                  </a:lnTo>
                  <a:cubicBezTo>
                    <a:pt x="1997375" y="1644132"/>
                    <a:pt x="1954560" y="1718148"/>
                    <a:pt x="1884560" y="1758212"/>
                  </a:cubicBezTo>
                  <a:lnTo>
                    <a:pt x="1111163" y="2205022"/>
                  </a:lnTo>
                  <a:cubicBezTo>
                    <a:pt x="1041163" y="2245085"/>
                    <a:pt x="955532" y="2245085"/>
                    <a:pt x="886212" y="2205022"/>
                  </a:cubicBezTo>
                  <a:lnTo>
                    <a:pt x="112136" y="1758212"/>
                  </a:lnTo>
                  <a:cubicBezTo>
                    <a:pt x="42816" y="1718148"/>
                    <a:pt x="0" y="1644132"/>
                    <a:pt x="0" y="1564005"/>
                  </a:cubicBezTo>
                  <a:lnTo>
                    <a:pt x="0" y="671064"/>
                  </a:lnTo>
                  <a:cubicBezTo>
                    <a:pt x="0" y="590937"/>
                    <a:pt x="42816" y="516921"/>
                    <a:pt x="112136" y="476179"/>
                  </a:cubicBezTo>
                  <a:lnTo>
                    <a:pt x="886212" y="30048"/>
                  </a:lnTo>
                  <a:cubicBezTo>
                    <a:pt x="920872" y="10016"/>
                    <a:pt x="959610" y="0"/>
                    <a:pt x="998433" y="0"/>
                  </a:cubicBezTo>
                  <a:close/>
                </a:path>
              </a:pathLst>
            </a:custGeom>
            <a:solidFill>
              <a:srgbClr val="E1E3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" tIns="64008" rIns="64008" bIns="64008" rtlCol="0" anchor="ctr"/>
            <a:lstStyle/>
            <a:p>
              <a:pPr marL="0" algn="ctr" defTabSz="914377" rtl="0" eaLnBrk="1" latinLnBrk="0" hangingPunct="1">
                <a:lnSpc>
                  <a:spcPct val="95000"/>
                </a:lnSpc>
              </a:pPr>
              <a:endParaRPr lang="en-US" sz="1260" kern="0" dirty="0">
                <a:solidFill>
                  <a:srgbClr val="FFFFFF"/>
                </a:solidFill>
                <a:latin typeface="Objectivity Light" pitchFamily="2" charset="77"/>
                <a:cs typeface="DIN Next LT Arabic Light" panose="020B0303020203050203" pitchFamily="34" charset="-78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5BF1248-A2EB-FB4F-A745-80CF9E4B8303}"/>
                </a:ext>
              </a:extLst>
            </p:cNvPr>
            <p:cNvGrpSpPr/>
            <p:nvPr/>
          </p:nvGrpSpPr>
          <p:grpSpPr>
            <a:xfrm flipH="1">
              <a:off x="4957958" y="614718"/>
              <a:ext cx="2753467" cy="2788547"/>
              <a:chOff x="4448005" y="698284"/>
              <a:chExt cx="2629120" cy="2662617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0F585ECE-54B7-C24F-A6E9-24E531F0D94F}"/>
                  </a:ext>
                </a:extLst>
              </p:cNvPr>
              <p:cNvGrpSpPr/>
              <p:nvPr/>
            </p:nvGrpSpPr>
            <p:grpSpPr>
              <a:xfrm>
                <a:off x="4448005" y="698284"/>
                <a:ext cx="2629120" cy="2662617"/>
                <a:chOff x="3167271" y="556549"/>
                <a:chExt cx="3916905" cy="3966808"/>
              </a:xfrm>
            </p:grpSpPr>
            <p:sp>
              <p:nvSpPr>
                <p:cNvPr id="83" name="Freeform: Shape 41">
                  <a:extLst>
                    <a:ext uri="{FF2B5EF4-FFF2-40B4-BE49-F238E27FC236}">
                      <a16:creationId xmlns:a16="http://schemas.microsoft.com/office/drawing/2014/main" id="{E18FACD6-4DA9-DE40-A012-51A004FA0A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5111" y="556549"/>
                  <a:ext cx="2586622" cy="2894442"/>
                </a:xfrm>
                <a:custGeom>
                  <a:avLst/>
                  <a:gdLst>
                    <a:gd name="connsiteX0" fmla="*/ 998433 w 1997375"/>
                    <a:gd name="connsiteY0" fmla="*/ 0 h 2235069"/>
                    <a:gd name="connsiteX1" fmla="*/ 1111163 w 1997375"/>
                    <a:gd name="connsiteY1" fmla="*/ 30048 h 2235069"/>
                    <a:gd name="connsiteX2" fmla="*/ 1884560 w 1997375"/>
                    <a:gd name="connsiteY2" fmla="*/ 476179 h 2235069"/>
                    <a:gd name="connsiteX3" fmla="*/ 1997375 w 1997375"/>
                    <a:gd name="connsiteY3" fmla="*/ 671064 h 2235069"/>
                    <a:gd name="connsiteX4" fmla="*/ 1997375 w 1997375"/>
                    <a:gd name="connsiteY4" fmla="*/ 1564005 h 2235069"/>
                    <a:gd name="connsiteX5" fmla="*/ 1884560 w 1997375"/>
                    <a:gd name="connsiteY5" fmla="*/ 1758212 h 2235069"/>
                    <a:gd name="connsiteX6" fmla="*/ 1111163 w 1997375"/>
                    <a:gd name="connsiteY6" fmla="*/ 2205022 h 2235069"/>
                    <a:gd name="connsiteX7" fmla="*/ 886212 w 1997375"/>
                    <a:gd name="connsiteY7" fmla="*/ 2205022 h 2235069"/>
                    <a:gd name="connsiteX8" fmla="*/ 112136 w 1997375"/>
                    <a:gd name="connsiteY8" fmla="*/ 1758212 h 2235069"/>
                    <a:gd name="connsiteX9" fmla="*/ 0 w 1997375"/>
                    <a:gd name="connsiteY9" fmla="*/ 1564005 h 2235069"/>
                    <a:gd name="connsiteX10" fmla="*/ 0 w 1997375"/>
                    <a:gd name="connsiteY10" fmla="*/ 671064 h 2235069"/>
                    <a:gd name="connsiteX11" fmla="*/ 112136 w 1997375"/>
                    <a:gd name="connsiteY11" fmla="*/ 476179 h 2235069"/>
                    <a:gd name="connsiteX12" fmla="*/ 886212 w 1997375"/>
                    <a:gd name="connsiteY12" fmla="*/ 30048 h 2235069"/>
                    <a:gd name="connsiteX13" fmla="*/ 998433 w 1997375"/>
                    <a:gd name="connsiteY13" fmla="*/ 0 h 2235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97375" h="2235069">
                      <a:moveTo>
                        <a:pt x="998433" y="0"/>
                      </a:moveTo>
                      <a:cubicBezTo>
                        <a:pt x="1037256" y="0"/>
                        <a:pt x="1076163" y="10016"/>
                        <a:pt x="1111163" y="30048"/>
                      </a:cubicBezTo>
                      <a:lnTo>
                        <a:pt x="1884560" y="476179"/>
                      </a:lnTo>
                      <a:cubicBezTo>
                        <a:pt x="1954560" y="516921"/>
                        <a:pt x="1997375" y="590937"/>
                        <a:pt x="1997375" y="671064"/>
                      </a:cubicBezTo>
                      <a:lnTo>
                        <a:pt x="1997375" y="1564005"/>
                      </a:lnTo>
                      <a:cubicBezTo>
                        <a:pt x="1997375" y="1644132"/>
                        <a:pt x="1954560" y="1718148"/>
                        <a:pt x="1884560" y="1758212"/>
                      </a:cubicBezTo>
                      <a:lnTo>
                        <a:pt x="1111163" y="2205022"/>
                      </a:lnTo>
                      <a:cubicBezTo>
                        <a:pt x="1041163" y="2245085"/>
                        <a:pt x="955532" y="2245085"/>
                        <a:pt x="886212" y="2205022"/>
                      </a:cubicBezTo>
                      <a:lnTo>
                        <a:pt x="112136" y="1758212"/>
                      </a:lnTo>
                      <a:cubicBezTo>
                        <a:pt x="42816" y="1718148"/>
                        <a:pt x="0" y="1644132"/>
                        <a:pt x="0" y="1564005"/>
                      </a:cubicBezTo>
                      <a:lnTo>
                        <a:pt x="0" y="671064"/>
                      </a:lnTo>
                      <a:cubicBezTo>
                        <a:pt x="0" y="590937"/>
                        <a:pt x="42816" y="516921"/>
                        <a:pt x="112136" y="476179"/>
                      </a:cubicBezTo>
                      <a:lnTo>
                        <a:pt x="886212" y="30048"/>
                      </a:lnTo>
                      <a:cubicBezTo>
                        <a:pt x="920872" y="10016"/>
                        <a:pt x="959610" y="0"/>
                        <a:pt x="998433" y="0"/>
                      </a:cubicBezTo>
                      <a:close/>
                    </a:path>
                  </a:pathLst>
                </a:custGeom>
                <a:noFill/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4008" tIns="64008" rIns="64008" bIns="64008" rtlCol="0" anchor="ctr"/>
                <a:lstStyle/>
                <a:p>
                  <a:pPr marL="0" algn="ctr" defTabSz="914377" rtl="0" eaLnBrk="1" latinLnBrk="0" hangingPunct="1">
                    <a:lnSpc>
                      <a:spcPct val="95000"/>
                    </a:lnSpc>
                  </a:pPr>
                  <a:endParaRPr lang="en-US" sz="1260" kern="0" dirty="0">
                    <a:solidFill>
                      <a:srgbClr val="FFFFFF"/>
                    </a:solidFill>
                    <a:latin typeface="Objectivity Light" pitchFamily="2" charset="77"/>
                    <a:cs typeface="DIN Next LT Arabic Light" panose="020B0303020203050203" pitchFamily="34" charset="-78"/>
                  </a:endParaRP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F81D1933-4A2C-5644-A0ED-17427B0F4B9E}"/>
                    </a:ext>
                  </a:extLst>
                </p:cNvPr>
                <p:cNvSpPr/>
                <p:nvPr/>
              </p:nvSpPr>
              <p:spPr>
                <a:xfrm>
                  <a:off x="3167271" y="3516364"/>
                  <a:ext cx="3916905" cy="100699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>
                    <a:spcBef>
                      <a:spcPts val="600"/>
                    </a:spcBef>
                    <a:spcAft>
                      <a:spcPts val="300"/>
                    </a:spcAft>
                    <a:defRPr/>
                  </a:pPr>
                  <a:r>
                    <a:rPr lang="en-US" sz="2000" dirty="0">
                      <a:solidFill>
                        <a:srgbClr val="3EA798"/>
                      </a:solidFill>
                      <a:latin typeface="Objectivity Light" pitchFamily="2" charset="77"/>
                      <a:cs typeface="DIN Next LT Arabic Light" panose="020B0303020203050203" pitchFamily="34" charset="-78"/>
                    </a:rPr>
                    <a:t>Separate a sentence into list of words.</a:t>
                  </a:r>
                </a:p>
              </p:txBody>
            </p:sp>
          </p:grpSp>
          <p:sp>
            <p:nvSpPr>
              <p:cNvPr id="79" name="Oval 20">
                <a:extLst>
                  <a:ext uri="{FF2B5EF4-FFF2-40B4-BE49-F238E27FC236}">
                    <a16:creationId xmlns:a16="http://schemas.microsoft.com/office/drawing/2014/main" id="{EF1CB641-20E3-C243-85B3-0670E7307A8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flipH="1">
                <a:off x="6379101" y="1015560"/>
                <a:ext cx="411190" cy="411190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rtl="1"/>
                <a:r>
                  <a:rPr lang="en-US" sz="2573" dirty="0">
                    <a:solidFill>
                      <a:schemeClr val="bg1"/>
                    </a:solidFill>
                    <a:latin typeface="Objectivity Light" pitchFamily="2" charset="77"/>
                  </a:rPr>
                  <a:t>1</a:t>
                </a:r>
              </a:p>
            </p:txBody>
          </p:sp>
          <p:pic>
            <p:nvPicPr>
              <p:cNvPr id="80" name="Graphic 79">
                <a:extLst>
                  <a:ext uri="{FF2B5EF4-FFF2-40B4-BE49-F238E27FC236}">
                    <a16:creationId xmlns:a16="http://schemas.microsoft.com/office/drawing/2014/main" id="{2E015CD6-6042-3742-854E-DB79157FF4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271889" y="1183918"/>
                <a:ext cx="972791" cy="972791"/>
              </a:xfrm>
              <a:prstGeom prst="rect">
                <a:avLst/>
              </a:prstGeom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88F8BE0-A666-A54B-9CEA-05BA2ECD0143}"/>
              </a:ext>
            </a:extLst>
          </p:cNvPr>
          <p:cNvGrpSpPr/>
          <p:nvPr/>
        </p:nvGrpSpPr>
        <p:grpSpPr>
          <a:xfrm>
            <a:off x="8178235" y="614718"/>
            <a:ext cx="3051419" cy="2758942"/>
            <a:chOff x="8178235" y="614718"/>
            <a:chExt cx="3051419" cy="2758942"/>
          </a:xfrm>
        </p:grpSpPr>
        <p:sp>
          <p:nvSpPr>
            <p:cNvPr id="87" name="Freeform: Shape 41">
              <a:extLst>
                <a:ext uri="{FF2B5EF4-FFF2-40B4-BE49-F238E27FC236}">
                  <a16:creationId xmlns:a16="http://schemas.microsoft.com/office/drawing/2014/main" id="{E2C2C09E-89F4-F642-A02E-D473AC8CBB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855671" y="817444"/>
              <a:ext cx="1452681" cy="1625558"/>
            </a:xfrm>
            <a:custGeom>
              <a:avLst/>
              <a:gdLst>
                <a:gd name="connsiteX0" fmla="*/ 998433 w 1997375"/>
                <a:gd name="connsiteY0" fmla="*/ 0 h 2235069"/>
                <a:gd name="connsiteX1" fmla="*/ 1111163 w 1997375"/>
                <a:gd name="connsiteY1" fmla="*/ 30048 h 2235069"/>
                <a:gd name="connsiteX2" fmla="*/ 1884560 w 1997375"/>
                <a:gd name="connsiteY2" fmla="*/ 476179 h 2235069"/>
                <a:gd name="connsiteX3" fmla="*/ 1997375 w 1997375"/>
                <a:gd name="connsiteY3" fmla="*/ 671064 h 2235069"/>
                <a:gd name="connsiteX4" fmla="*/ 1997375 w 1997375"/>
                <a:gd name="connsiteY4" fmla="*/ 1564005 h 2235069"/>
                <a:gd name="connsiteX5" fmla="*/ 1884560 w 1997375"/>
                <a:gd name="connsiteY5" fmla="*/ 1758212 h 2235069"/>
                <a:gd name="connsiteX6" fmla="*/ 1111163 w 1997375"/>
                <a:gd name="connsiteY6" fmla="*/ 2205022 h 2235069"/>
                <a:gd name="connsiteX7" fmla="*/ 886212 w 1997375"/>
                <a:gd name="connsiteY7" fmla="*/ 2205022 h 2235069"/>
                <a:gd name="connsiteX8" fmla="*/ 112136 w 1997375"/>
                <a:gd name="connsiteY8" fmla="*/ 1758212 h 2235069"/>
                <a:gd name="connsiteX9" fmla="*/ 0 w 1997375"/>
                <a:gd name="connsiteY9" fmla="*/ 1564005 h 2235069"/>
                <a:gd name="connsiteX10" fmla="*/ 0 w 1997375"/>
                <a:gd name="connsiteY10" fmla="*/ 671064 h 2235069"/>
                <a:gd name="connsiteX11" fmla="*/ 112136 w 1997375"/>
                <a:gd name="connsiteY11" fmla="*/ 476179 h 2235069"/>
                <a:gd name="connsiteX12" fmla="*/ 886212 w 1997375"/>
                <a:gd name="connsiteY12" fmla="*/ 30048 h 2235069"/>
                <a:gd name="connsiteX13" fmla="*/ 998433 w 1997375"/>
                <a:gd name="connsiteY13" fmla="*/ 0 h 223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7375" h="2235069">
                  <a:moveTo>
                    <a:pt x="998433" y="0"/>
                  </a:moveTo>
                  <a:cubicBezTo>
                    <a:pt x="1037256" y="0"/>
                    <a:pt x="1076163" y="10016"/>
                    <a:pt x="1111163" y="30048"/>
                  </a:cubicBezTo>
                  <a:lnTo>
                    <a:pt x="1884560" y="476179"/>
                  </a:lnTo>
                  <a:cubicBezTo>
                    <a:pt x="1954560" y="516921"/>
                    <a:pt x="1997375" y="590937"/>
                    <a:pt x="1997375" y="671064"/>
                  </a:cubicBezTo>
                  <a:lnTo>
                    <a:pt x="1997375" y="1564005"/>
                  </a:lnTo>
                  <a:cubicBezTo>
                    <a:pt x="1997375" y="1644132"/>
                    <a:pt x="1954560" y="1718148"/>
                    <a:pt x="1884560" y="1758212"/>
                  </a:cubicBezTo>
                  <a:lnTo>
                    <a:pt x="1111163" y="2205022"/>
                  </a:lnTo>
                  <a:cubicBezTo>
                    <a:pt x="1041163" y="2245085"/>
                    <a:pt x="955532" y="2245085"/>
                    <a:pt x="886212" y="2205022"/>
                  </a:cubicBezTo>
                  <a:lnTo>
                    <a:pt x="112136" y="1758212"/>
                  </a:lnTo>
                  <a:cubicBezTo>
                    <a:pt x="42816" y="1718148"/>
                    <a:pt x="0" y="1644132"/>
                    <a:pt x="0" y="1564005"/>
                  </a:cubicBezTo>
                  <a:lnTo>
                    <a:pt x="0" y="671064"/>
                  </a:lnTo>
                  <a:cubicBezTo>
                    <a:pt x="0" y="590937"/>
                    <a:pt x="42816" y="516921"/>
                    <a:pt x="112136" y="476179"/>
                  </a:cubicBezTo>
                  <a:lnTo>
                    <a:pt x="886212" y="30048"/>
                  </a:lnTo>
                  <a:cubicBezTo>
                    <a:pt x="920872" y="10016"/>
                    <a:pt x="959610" y="0"/>
                    <a:pt x="998433" y="0"/>
                  </a:cubicBezTo>
                  <a:close/>
                </a:path>
              </a:pathLst>
            </a:custGeom>
            <a:solidFill>
              <a:srgbClr val="E1E3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" tIns="64008" rIns="64008" bIns="64008" rtlCol="0" anchor="ctr"/>
            <a:lstStyle/>
            <a:p>
              <a:pPr marL="0" algn="ctr" defTabSz="914377" rtl="0" eaLnBrk="1" latinLnBrk="0" hangingPunct="1">
                <a:lnSpc>
                  <a:spcPct val="95000"/>
                </a:lnSpc>
              </a:pPr>
              <a:endParaRPr lang="en-US" sz="1260" kern="0" dirty="0">
                <a:solidFill>
                  <a:srgbClr val="FFFFFF"/>
                </a:solidFill>
                <a:latin typeface="Objectivity Light" pitchFamily="2" charset="77"/>
                <a:cs typeface="DIN Next LT Arabic Light" panose="020B0303020203050203" pitchFamily="34" charset="-78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F87A84B-3B5E-9B4E-A45F-BA2B4F7FEBD0}"/>
                </a:ext>
              </a:extLst>
            </p:cNvPr>
            <p:cNvGrpSpPr/>
            <p:nvPr/>
          </p:nvGrpSpPr>
          <p:grpSpPr>
            <a:xfrm flipH="1">
              <a:off x="8178235" y="614718"/>
              <a:ext cx="3051419" cy="2758942"/>
              <a:chOff x="4184430" y="698284"/>
              <a:chExt cx="2913618" cy="2634349"/>
            </a:xfrm>
          </p:grpSpPr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51580471-8194-5F4A-A94F-2EA655CF8474}"/>
                  </a:ext>
                </a:extLst>
              </p:cNvPr>
              <p:cNvGrpSpPr/>
              <p:nvPr/>
            </p:nvGrpSpPr>
            <p:grpSpPr>
              <a:xfrm>
                <a:off x="4184430" y="698284"/>
                <a:ext cx="2913618" cy="2634349"/>
                <a:chOff x="2774594" y="556549"/>
                <a:chExt cx="4340754" cy="3924693"/>
              </a:xfrm>
            </p:grpSpPr>
            <p:sp>
              <p:nvSpPr>
                <p:cNvPr id="63" name="Freeform: Shape 41">
                  <a:extLst>
                    <a:ext uri="{FF2B5EF4-FFF2-40B4-BE49-F238E27FC236}">
                      <a16:creationId xmlns:a16="http://schemas.microsoft.com/office/drawing/2014/main" id="{A7E927D6-6247-564B-8E99-0AD6FBBE14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5111" y="556549"/>
                  <a:ext cx="2586622" cy="2894442"/>
                </a:xfrm>
                <a:custGeom>
                  <a:avLst/>
                  <a:gdLst>
                    <a:gd name="connsiteX0" fmla="*/ 998433 w 1997375"/>
                    <a:gd name="connsiteY0" fmla="*/ 0 h 2235069"/>
                    <a:gd name="connsiteX1" fmla="*/ 1111163 w 1997375"/>
                    <a:gd name="connsiteY1" fmla="*/ 30048 h 2235069"/>
                    <a:gd name="connsiteX2" fmla="*/ 1884560 w 1997375"/>
                    <a:gd name="connsiteY2" fmla="*/ 476179 h 2235069"/>
                    <a:gd name="connsiteX3" fmla="*/ 1997375 w 1997375"/>
                    <a:gd name="connsiteY3" fmla="*/ 671064 h 2235069"/>
                    <a:gd name="connsiteX4" fmla="*/ 1997375 w 1997375"/>
                    <a:gd name="connsiteY4" fmla="*/ 1564005 h 2235069"/>
                    <a:gd name="connsiteX5" fmla="*/ 1884560 w 1997375"/>
                    <a:gd name="connsiteY5" fmla="*/ 1758212 h 2235069"/>
                    <a:gd name="connsiteX6" fmla="*/ 1111163 w 1997375"/>
                    <a:gd name="connsiteY6" fmla="*/ 2205022 h 2235069"/>
                    <a:gd name="connsiteX7" fmla="*/ 886212 w 1997375"/>
                    <a:gd name="connsiteY7" fmla="*/ 2205022 h 2235069"/>
                    <a:gd name="connsiteX8" fmla="*/ 112136 w 1997375"/>
                    <a:gd name="connsiteY8" fmla="*/ 1758212 h 2235069"/>
                    <a:gd name="connsiteX9" fmla="*/ 0 w 1997375"/>
                    <a:gd name="connsiteY9" fmla="*/ 1564005 h 2235069"/>
                    <a:gd name="connsiteX10" fmla="*/ 0 w 1997375"/>
                    <a:gd name="connsiteY10" fmla="*/ 671064 h 2235069"/>
                    <a:gd name="connsiteX11" fmla="*/ 112136 w 1997375"/>
                    <a:gd name="connsiteY11" fmla="*/ 476179 h 2235069"/>
                    <a:gd name="connsiteX12" fmla="*/ 886212 w 1997375"/>
                    <a:gd name="connsiteY12" fmla="*/ 30048 h 2235069"/>
                    <a:gd name="connsiteX13" fmla="*/ 998433 w 1997375"/>
                    <a:gd name="connsiteY13" fmla="*/ 0 h 2235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97375" h="2235069">
                      <a:moveTo>
                        <a:pt x="998433" y="0"/>
                      </a:moveTo>
                      <a:cubicBezTo>
                        <a:pt x="1037256" y="0"/>
                        <a:pt x="1076163" y="10016"/>
                        <a:pt x="1111163" y="30048"/>
                      </a:cubicBezTo>
                      <a:lnTo>
                        <a:pt x="1884560" y="476179"/>
                      </a:lnTo>
                      <a:cubicBezTo>
                        <a:pt x="1954560" y="516921"/>
                        <a:pt x="1997375" y="590937"/>
                        <a:pt x="1997375" y="671064"/>
                      </a:cubicBezTo>
                      <a:lnTo>
                        <a:pt x="1997375" y="1564005"/>
                      </a:lnTo>
                      <a:cubicBezTo>
                        <a:pt x="1997375" y="1644132"/>
                        <a:pt x="1954560" y="1718148"/>
                        <a:pt x="1884560" y="1758212"/>
                      </a:cubicBezTo>
                      <a:lnTo>
                        <a:pt x="1111163" y="2205022"/>
                      </a:lnTo>
                      <a:cubicBezTo>
                        <a:pt x="1041163" y="2245085"/>
                        <a:pt x="955532" y="2245085"/>
                        <a:pt x="886212" y="2205022"/>
                      </a:cubicBezTo>
                      <a:lnTo>
                        <a:pt x="112136" y="1758212"/>
                      </a:lnTo>
                      <a:cubicBezTo>
                        <a:pt x="42816" y="1718148"/>
                        <a:pt x="0" y="1644132"/>
                        <a:pt x="0" y="1564005"/>
                      </a:cubicBezTo>
                      <a:lnTo>
                        <a:pt x="0" y="671064"/>
                      </a:lnTo>
                      <a:cubicBezTo>
                        <a:pt x="0" y="590937"/>
                        <a:pt x="42816" y="516921"/>
                        <a:pt x="112136" y="476179"/>
                      </a:cubicBezTo>
                      <a:lnTo>
                        <a:pt x="886212" y="30048"/>
                      </a:lnTo>
                      <a:cubicBezTo>
                        <a:pt x="920872" y="10016"/>
                        <a:pt x="959610" y="0"/>
                        <a:pt x="998433" y="0"/>
                      </a:cubicBezTo>
                      <a:close/>
                    </a:path>
                  </a:pathLst>
                </a:custGeom>
                <a:noFill/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4008" tIns="64008" rIns="64008" bIns="64008" rtlCol="0" anchor="ctr"/>
                <a:lstStyle/>
                <a:p>
                  <a:pPr marL="0" algn="ctr" defTabSz="914377" rtl="1" eaLnBrk="1" latinLnBrk="0" hangingPunct="1">
                    <a:lnSpc>
                      <a:spcPct val="95000"/>
                    </a:lnSpc>
                  </a:pPr>
                  <a:endParaRPr lang="en-US" sz="1260" kern="0" dirty="0">
                    <a:solidFill>
                      <a:srgbClr val="FFFFFF"/>
                    </a:solidFill>
                    <a:latin typeface="Objectivity Light" pitchFamily="2" charset="77"/>
                    <a:cs typeface="DIN Next LT Arabic Light" panose="020B0303020203050203" pitchFamily="34" charset="-78"/>
                  </a:endParaRPr>
                </a:p>
              </p:txBody>
            </p:sp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3961C953-1609-D84C-8A1C-C7806764AEB7}"/>
                    </a:ext>
                  </a:extLst>
                </p:cNvPr>
                <p:cNvSpPr/>
                <p:nvPr/>
              </p:nvSpPr>
              <p:spPr>
                <a:xfrm>
                  <a:off x="2774594" y="3474249"/>
                  <a:ext cx="4340754" cy="100699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>
                    <a:spcBef>
                      <a:spcPts val="600"/>
                    </a:spcBef>
                    <a:spcAft>
                      <a:spcPts val="300"/>
                    </a:spcAft>
                    <a:defRPr/>
                  </a:pPr>
                  <a:r>
                    <a:rPr lang="en-US" sz="2000" dirty="0">
                      <a:solidFill>
                        <a:srgbClr val="3EA798"/>
                      </a:solidFill>
                      <a:latin typeface="Objectivity Light" pitchFamily="2" charset="77"/>
                      <a:cs typeface="DIN Next LT Arabic Light" panose="020B0303020203050203" pitchFamily="34" charset="-78"/>
                    </a:rPr>
                    <a:t>Create function counts number of emojis in a text.</a:t>
                  </a:r>
                </a:p>
              </p:txBody>
            </p:sp>
          </p:grpSp>
          <p:sp>
            <p:nvSpPr>
              <p:cNvPr id="60" name="Oval 20">
                <a:extLst>
                  <a:ext uri="{FF2B5EF4-FFF2-40B4-BE49-F238E27FC236}">
                    <a16:creationId xmlns:a16="http://schemas.microsoft.com/office/drawing/2014/main" id="{592BE6A8-98FE-3640-831C-A8D3C568B2B4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flipH="1">
                <a:off x="6379101" y="1015560"/>
                <a:ext cx="411190" cy="411190"/>
              </a:xfrm>
              <a:prstGeom prst="ellipse">
                <a:avLst/>
              </a:prstGeom>
              <a:solidFill>
                <a:schemeClr val="tx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rtl="1"/>
                <a:r>
                  <a:rPr lang="en-US" sz="2573" dirty="0">
                    <a:solidFill>
                      <a:schemeClr val="bg1"/>
                    </a:solidFill>
                    <a:latin typeface="Objectivity Light" pitchFamily="2" charset="77"/>
                  </a:rPr>
                  <a:t>2</a:t>
                </a:r>
              </a:p>
            </p:txBody>
          </p:sp>
        </p:grp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77D0CB87-B05F-114E-880F-3845B55F7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flipH="1">
              <a:off x="9135222" y="1175813"/>
              <a:ext cx="913600" cy="91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971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E3785-F264-470C-B2BA-0173E32632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473" y="184543"/>
            <a:ext cx="5400674" cy="1994624"/>
          </a:xfrm>
        </p:spPr>
        <p:txBody>
          <a:bodyPr/>
          <a:lstStyle/>
          <a:p>
            <a:r>
              <a:rPr lang="en-US" dirty="0"/>
              <a:t>Pre-work</a:t>
            </a:r>
            <a:endParaRPr lang="ar-S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AAC1F5-3510-4957-8098-8CE9977364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6826" y="2485782"/>
            <a:ext cx="5982877" cy="628727"/>
          </a:xfrm>
        </p:spPr>
        <p:txBody>
          <a:bodyPr/>
          <a:lstStyle/>
          <a:p>
            <a:r>
              <a:rPr lang="en-US" sz="2000" dirty="0"/>
              <a:t>To get better results, the team pulled more data. We got about 2,300 extra tweets from the @Tawakkalna_care account </a:t>
            </a:r>
            <a:r>
              <a:rPr lang="en-US" sz="2000"/>
              <a:t>by Twitter API.</a:t>
            </a:r>
            <a:endParaRPr lang="ar-SA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B23D9F-B4E3-4E79-9100-A8750AC44B25}"/>
              </a:ext>
            </a:extLst>
          </p:cNvPr>
          <p:cNvSpPr txBox="1"/>
          <p:nvPr/>
        </p:nvSpPr>
        <p:spPr>
          <a:xfrm>
            <a:off x="5280917" y="1222625"/>
            <a:ext cx="4654193" cy="22063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ar-SA" dirty="0" err="1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57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CB9D45-71CA-41E7-B8E0-AB1B48957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Visualization  </a:t>
            </a:r>
            <a:endParaRPr lang="ar-SA" sz="3200" dirty="0"/>
          </a:p>
        </p:txBody>
      </p:sp>
      <p:pic>
        <p:nvPicPr>
          <p:cNvPr id="5" name="Picture 4" descr="A close-up of a document&#10;&#10;Description automatically generated with medium confidence">
            <a:extLst>
              <a:ext uri="{FF2B5EF4-FFF2-40B4-BE49-F238E27FC236}">
                <a16:creationId xmlns:a16="http://schemas.microsoft.com/office/drawing/2014/main" id="{EE9EA4E2-C3C0-4826-BA02-5D54C4FA45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850" y="1246095"/>
            <a:ext cx="8527550" cy="47578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7C020C-6761-4F86-B1A2-6C1A2EB139F3}"/>
              </a:ext>
            </a:extLst>
          </p:cNvPr>
          <p:cNvSpPr txBox="1"/>
          <p:nvPr/>
        </p:nvSpPr>
        <p:spPr>
          <a:xfrm>
            <a:off x="3926039" y="5702193"/>
            <a:ext cx="4339921" cy="10351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8C8C8C"/>
                </a:solidFill>
              </a:rPr>
              <a:t>The Cloud words for </a:t>
            </a:r>
            <a:r>
              <a:rPr lang="en-US" b="1" dirty="0">
                <a:solidFill>
                  <a:srgbClr val="8C8C8C"/>
                </a:solidFill>
              </a:rPr>
              <a:t>Noise</a:t>
            </a:r>
            <a:r>
              <a:rPr lang="en-US" dirty="0">
                <a:solidFill>
                  <a:srgbClr val="8C8C8C"/>
                </a:solidFill>
              </a:rPr>
              <a:t> tweets    </a:t>
            </a:r>
            <a:endParaRPr lang="ar-SA" dirty="0" err="1">
              <a:solidFill>
                <a:srgbClr val="8C8C8C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251EEEB-C5D2-4DC4-9A7E-D47E6A3655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9375" y="512764"/>
            <a:ext cx="576664" cy="57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45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CB9D45-71CA-41E7-B8E0-AB1B48957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Visualization </a:t>
            </a:r>
            <a:endParaRPr lang="ar-SA" sz="3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7C020C-6761-4F86-B1A2-6C1A2EB139F3}"/>
              </a:ext>
            </a:extLst>
          </p:cNvPr>
          <p:cNvSpPr txBox="1"/>
          <p:nvPr/>
        </p:nvSpPr>
        <p:spPr>
          <a:xfrm>
            <a:off x="3926039" y="5702193"/>
            <a:ext cx="4339921" cy="10351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8C8C8C"/>
                </a:solidFill>
              </a:rPr>
              <a:t>The Cloud words for </a:t>
            </a:r>
            <a:r>
              <a:rPr lang="en-US" b="1" dirty="0">
                <a:solidFill>
                  <a:srgbClr val="8C8C8C"/>
                </a:solidFill>
              </a:rPr>
              <a:t>Answers</a:t>
            </a:r>
            <a:r>
              <a:rPr lang="en-US" dirty="0">
                <a:solidFill>
                  <a:srgbClr val="8C8C8C"/>
                </a:solidFill>
              </a:rPr>
              <a:t> tweets   </a:t>
            </a:r>
            <a:endParaRPr lang="ar-SA" dirty="0" err="1">
              <a:solidFill>
                <a:srgbClr val="8C8C8C"/>
              </a:solidFill>
            </a:endParaRPr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8D2D15E-C3B0-4497-948B-E48A7DFA18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7560" y="1353483"/>
            <a:ext cx="8955859" cy="46711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64BC2A7A-C02D-409D-942C-C983074109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9375" y="512764"/>
            <a:ext cx="576664" cy="57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47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STYLE_ID" val="2xL11tvi"/>
  <p:tag name="EE4P_STYLE_NAME" val="SDAIA Grid 16:9 English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Arial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Arial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Arial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Arial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MASTERWIZARD_DRAFT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di3hBJNQwTSWXXMgfJ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WFAaMmVl7WEmwj3dV9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irTc5J59wgUkBtV6S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JFato_7QwzD9ykZoVA4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m7LKrXqmWkQh0HkAD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NqD0U5dPiFAJrbIun.2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Hn7WSs5QlOamn6NLho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0vFvTtDrvX9bBbksXw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ELpw2Miv1Os3OcIu33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IF8zjFYVtP.CxMCekQB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ZAIQAY1GIHZB0ao5GS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b51OnDYtph6wWyoMMjN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kMqUdBByrULOZTf3bz4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IfYaTTSYO91uyNqD0q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MnoBEIfMicXLbRD5En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Y_JHAt3XM7odl1LNe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AFgafNTZ.lH7gQVXxz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x_soVwWqJBE4IItJ466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dAkIUGhgMKUYRUHzHJa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TtQpk_RbfPxyyKWet9o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jIWBFbghWqpIMmSUg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jIWBFbghWqpIMmSUg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2aINs7O0LeNwomu4S7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u26xgoHsfKBGVd4NeD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q4pdI85KxEp8A10Cqj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XjewH6m3kLN5vHIEDd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dVxDyQwKmWmLQZjOy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7FZqGw6JWOU2QdQT9Z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2bJG5unlM01AGVFM.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di3hBJNQwTSWXXMgfJ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Arv6YSnVSrwvZAJXmp7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Jxocg3LQmrJzEdDGhJ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Jxocg3LQmrJzEdDGhJW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tdzlG.pDawxhE1fo46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WXTdTobFlCV7UeRK8.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2NFYtf9pR7rYKpQOVBR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YIBx4b7WRPy96EPoPd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6b773h1174nHcBhJlR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vyFxjk9My.rX1wXa288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DzhK924qVjkOiKPbm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ZIT_PIqOpoxFSkakh5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XNS9uuKXOCRhL5z57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2fOT6Zsh6QAUJocZTxa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zEO9aYE3ibn9Q3Ji9WA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DAIA Grid 16:9 English">
  <a:themeElements>
    <a:clrScheme name="Custom 2">
      <a:dk1>
        <a:srgbClr val="8C8C8C"/>
      </a:dk1>
      <a:lt1>
        <a:srgbClr val="FFFFFF"/>
      </a:lt1>
      <a:dk2>
        <a:srgbClr val="273370"/>
      </a:dk2>
      <a:lt2>
        <a:srgbClr val="F2F2F2"/>
      </a:lt2>
      <a:accent1>
        <a:srgbClr val="131938"/>
      </a:accent1>
      <a:accent2>
        <a:srgbClr val="1D2654"/>
      </a:accent2>
      <a:accent3>
        <a:srgbClr val="FCBD4C"/>
      </a:accent3>
      <a:accent4>
        <a:srgbClr val="94A0DA"/>
      </a:accent4>
      <a:accent5>
        <a:srgbClr val="8C8C8C"/>
      </a:accent5>
      <a:accent6>
        <a:srgbClr val="33CC99"/>
      </a:accent6>
      <a:hlink>
        <a:srgbClr val="0563C1"/>
      </a:hlink>
      <a:folHlink>
        <a:srgbClr val="0563C1"/>
      </a:folHlink>
    </a:clrScheme>
    <a:fontScheme name="Custom 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73370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8C8C8C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Sample slide_Grid 169" id="{E7A6891E-9EDF-4E09-82EB-9FA33DA37AEE}" vid="{A0CDABE2-D331-4CE0-8EEB-1E2BC12356B7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30</TotalTime>
  <Words>428</Words>
  <Application>Microsoft Office PowerPoint</Application>
  <PresentationFormat>Widescreen</PresentationFormat>
  <Paragraphs>80</Paragraphs>
  <Slides>14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  <vt:variant>
        <vt:lpstr>Custom Shows</vt:lpstr>
      </vt:variant>
      <vt:variant>
        <vt:i4>1</vt:i4>
      </vt:variant>
    </vt:vector>
  </HeadingPairs>
  <TitlesOfParts>
    <vt:vector size="26" baseType="lpstr">
      <vt:lpstr>Arial</vt:lpstr>
      <vt:lpstr>Calibri</vt:lpstr>
      <vt:lpstr>Courier New</vt:lpstr>
      <vt:lpstr>DIN Next LT Arabic Light</vt:lpstr>
      <vt:lpstr>Helvetica Neue</vt:lpstr>
      <vt:lpstr>Objectivity</vt:lpstr>
      <vt:lpstr>Objectivity Light</vt:lpstr>
      <vt:lpstr>Trebuchet MS</vt:lpstr>
      <vt:lpstr>Wingdings</vt:lpstr>
      <vt:lpstr>SDAIA Grid 16:9 English</vt:lpstr>
      <vt:lpstr>think-cell Slide</vt:lpstr>
      <vt:lpstr>Data Cleaning for Textual Documents using NLP</vt:lpstr>
      <vt:lpstr>Introduction</vt:lpstr>
      <vt:lpstr>About Dataset</vt:lpstr>
      <vt:lpstr>PowerPoint Presentation</vt:lpstr>
      <vt:lpstr>Data Cleaning </vt:lpstr>
      <vt:lpstr>Preprocessing </vt:lpstr>
      <vt:lpstr>Pre-work</vt:lpstr>
      <vt:lpstr>Visualization  </vt:lpstr>
      <vt:lpstr>Visualization </vt:lpstr>
      <vt:lpstr>Visualization </vt:lpstr>
      <vt:lpstr>Modelling </vt:lpstr>
      <vt:lpstr>Neural Network Model </vt:lpstr>
      <vt:lpstr>Neural Network Model 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Alanoud Haroon Abdullah AlHwaireny</cp:lastModifiedBy>
  <cp:revision>577</cp:revision>
  <cp:lastPrinted>1999-12-31T16:00:00Z</cp:lastPrinted>
  <dcterms:created xsi:type="dcterms:W3CDTF">2020-03-15T23:19:53Z</dcterms:created>
  <dcterms:modified xsi:type="dcterms:W3CDTF">2021-11-09T07:1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